
<file path=[Content_Types].xml><?xml version="1.0" encoding="utf-8"?>
<Types xmlns="http://schemas.openxmlformats.org/package/2006/content-types">
  <Default Extension="bin" ContentType="application/vnd.openxmlformats-officedocument.oleObject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2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1.xml" ContentType="application/vnd.openxmlformats-officedocument.presentationml.notesSl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2.xml" ContentType="application/vnd.openxmlformats-officedocument.presentationml.notesSl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3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notesSlides/notesSlide4.xml" ContentType="application/vnd.openxmlformats-officedocument.presentationml.notesSl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5.xml" ContentType="application/vnd.openxmlformats-officedocument.presentationml.notesSlid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notesSlides/notesSlide6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notesSlides/notesSlide7.xml" ContentType="application/vnd.openxmlformats-officedocument.presentationml.notesSl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notesSlides/notesSlide8.xml" ContentType="application/vnd.openxmlformats-officedocument.presentationml.notesSlid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notesSlides/notesSlide9.xml" ContentType="application/vnd.openxmlformats-officedocument.presentationml.notesSlid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notesSlides/notesSlide10.xml" ContentType="application/vnd.openxmlformats-officedocument.presentationml.notesSlid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notesSlides/notesSlide11.xml" ContentType="application/vnd.openxmlformats-officedocument.presentationml.notesSlid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notesSlides/notesSlide12.xml" ContentType="application/vnd.openxmlformats-officedocument.presentationml.notesSlide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notesSlides/notesSlide13.xml" ContentType="application/vnd.openxmlformats-officedocument.presentationml.notesSlid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notesSlides/notesSlide14.xml" ContentType="application/vnd.openxmlformats-officedocument.presentationml.notesSlid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notesSlides/notesSlide15.xml" ContentType="application/vnd.openxmlformats-officedocument.presentationml.notesSl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notesSlides/notesSlide16.xml" ContentType="application/vnd.openxmlformats-officedocument.presentationml.notesSlid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notesSlides/notesSlide17.xml" ContentType="application/vnd.openxmlformats-officedocument.presentationml.notesSlide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notesSlides/notesSlide18.xml" ContentType="application/vnd.openxmlformats-officedocument.presentationml.notesSlide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notesSlides/notesSlide19.xml" ContentType="application/vnd.openxmlformats-officedocument.presentationml.notesSlid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notesSlides/notesSlide20.xml" ContentType="application/vnd.openxmlformats-officedocument.presentationml.notesSlide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notesSlides/notesSlide21.xml" ContentType="application/vnd.openxmlformats-officedocument.presentationml.notesSlid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notesSlides/notesSlide22.xml" ContentType="application/vnd.openxmlformats-officedocument.presentationml.notesSlid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notesSlides/notesSlide23.xml" ContentType="application/vnd.openxmlformats-officedocument.presentationml.notesSlid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notesSlides/notesSlide24.xml" ContentType="application/vnd.openxmlformats-officedocument.presentationml.notesSlide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notesSlides/notesSlide26.xml" ContentType="application/vnd.openxmlformats-officedocument.presentationml.notesSlide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notesSlides/notesSlide27.xml" ContentType="application/vnd.openxmlformats-officedocument.presentationml.notesSlid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notesSlides/notesSlide28.xml" ContentType="application/vnd.openxmlformats-officedocument.presentationml.notesSlid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notesSlides/notesSlide29.xml" ContentType="application/vnd.openxmlformats-officedocument.presentationml.notesSlide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notesSlides/notesSlide30.xml" ContentType="application/vnd.openxmlformats-officedocument.presentationml.notesSlide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notesSlides/notesSlide31.xml" ContentType="application/vnd.openxmlformats-officedocument.presentationml.notesSlide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notesSlides/notesSlide32.xml" ContentType="application/vnd.openxmlformats-officedocument.presentationml.notesSlide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notesSlides/notesSlide33.xml" ContentType="application/vnd.openxmlformats-officedocument.presentationml.notesSlide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notesSlides/notesSlide34.xml" ContentType="application/vnd.openxmlformats-officedocument.presentationml.notesSlide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notesSlides/notesSlide35.xml" ContentType="application/vnd.openxmlformats-officedocument.presentationml.notesSlide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notesSlides/notesSlide36.xml" ContentType="application/vnd.openxmlformats-officedocument.presentationml.notesSlide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notesSlides/notesSlide37.xml" ContentType="application/vnd.openxmlformats-officedocument.presentationml.notesSlide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notesSlides/notesSlide38.xml" ContentType="application/vnd.openxmlformats-officedocument.presentationml.notesSlide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notesSlides/notesSlide3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41"/>
  </p:notesMasterIdLst>
  <p:handoutMasterIdLst>
    <p:handoutMasterId r:id="rId42"/>
  </p:handoutMasterIdLst>
  <p:sldIdLst>
    <p:sldId id="3690" r:id="rId2"/>
    <p:sldId id="3744" r:id="rId3"/>
    <p:sldId id="3743" r:id="rId4"/>
    <p:sldId id="3745" r:id="rId5"/>
    <p:sldId id="3746" r:id="rId6"/>
    <p:sldId id="3747" r:id="rId7"/>
    <p:sldId id="3748" r:id="rId8"/>
    <p:sldId id="3749" r:id="rId9"/>
    <p:sldId id="3750" r:id="rId10"/>
    <p:sldId id="3751" r:id="rId11"/>
    <p:sldId id="3754" r:id="rId12"/>
    <p:sldId id="3752" r:id="rId13"/>
    <p:sldId id="272" r:id="rId14"/>
    <p:sldId id="257" r:id="rId15"/>
    <p:sldId id="276" r:id="rId16"/>
    <p:sldId id="274" r:id="rId17"/>
    <p:sldId id="269" r:id="rId18"/>
    <p:sldId id="3741" r:id="rId19"/>
    <p:sldId id="268" r:id="rId20"/>
    <p:sldId id="260" r:id="rId21"/>
    <p:sldId id="261" r:id="rId22"/>
    <p:sldId id="262" r:id="rId23"/>
    <p:sldId id="263" r:id="rId24"/>
    <p:sldId id="264" r:id="rId25"/>
    <p:sldId id="265" r:id="rId26"/>
    <p:sldId id="266" r:id="rId27"/>
    <p:sldId id="267" r:id="rId28"/>
    <p:sldId id="3736" r:id="rId29"/>
    <p:sldId id="3735" r:id="rId30"/>
    <p:sldId id="289" r:id="rId31"/>
    <p:sldId id="290" r:id="rId32"/>
    <p:sldId id="279" r:id="rId33"/>
    <p:sldId id="282" r:id="rId34"/>
    <p:sldId id="280" r:id="rId35"/>
    <p:sldId id="281" r:id="rId36"/>
    <p:sldId id="284" r:id="rId37"/>
    <p:sldId id="285" r:id="rId38"/>
    <p:sldId id="286" r:id="rId39"/>
    <p:sldId id="288" r:id="rId40"/>
  </p:sldIdLst>
  <p:sldSz cx="12192000" cy="6858000"/>
  <p:notesSz cx="6858000" cy="9144000"/>
  <p:embeddedFontLst>
    <p:embeddedFont>
      <p:font typeface="Cambria Math" panose="02040503050406030204" pitchFamily="18" charset="0"/>
      <p:regular r:id="rId43"/>
    </p:embeddedFont>
  </p:embeddedFontLst>
  <p:custDataLst>
    <p:tags r:id="rId4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usterfolien" id="{54CF9CB4-6EDB-4AC2-9AFB-EFC6E4817A6D}">
          <p14:sldIdLst>
            <p14:sldId id="3690"/>
            <p14:sldId id="3744"/>
            <p14:sldId id="3743"/>
            <p14:sldId id="3745"/>
            <p14:sldId id="3746"/>
            <p14:sldId id="3747"/>
            <p14:sldId id="3748"/>
            <p14:sldId id="3749"/>
            <p14:sldId id="3750"/>
            <p14:sldId id="3751"/>
            <p14:sldId id="3754"/>
            <p14:sldId id="3752"/>
            <p14:sldId id="272"/>
          </p14:sldIdLst>
        </p14:section>
        <p14:section name="Standardabschnitt" id="{DFA7A10C-E1EB-4972-AB36-D2ACD314A82C}">
          <p14:sldIdLst>
            <p14:sldId id="257"/>
            <p14:sldId id="276"/>
            <p14:sldId id="274"/>
            <p14:sldId id="269"/>
            <p14:sldId id="3741"/>
            <p14:sldId id="26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3736"/>
            <p14:sldId id="3735"/>
            <p14:sldId id="289"/>
            <p14:sldId id="290"/>
            <p14:sldId id="279"/>
            <p14:sldId id="282"/>
            <p14:sldId id="280"/>
            <p14:sldId id="281"/>
            <p14:sldId id="284"/>
            <p14:sldId id="285"/>
            <p14:sldId id="286"/>
            <p14:sldId id="288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AFC9"/>
    <a:srgbClr val="7DA4C1"/>
    <a:srgbClr val="6190B3"/>
    <a:srgbClr val="4C7B9E"/>
    <a:srgbClr val="3E6582"/>
    <a:srgbClr val="BAC7D5"/>
    <a:srgbClr val="456F90"/>
    <a:srgbClr val="8CA6BF"/>
    <a:srgbClr val="A4B7CA"/>
    <a:srgbClr val="4B7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991" autoAdjust="0"/>
  </p:normalViewPr>
  <p:slideViewPr>
    <p:cSldViewPr snapToGrid="0" showGuides="1">
      <p:cViewPr varScale="1">
        <p:scale>
          <a:sx n="88" d="100"/>
          <a:sy n="88" d="100"/>
        </p:scale>
        <p:origin x="812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1.fntdata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de-AT"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de-AT" sz="1400" b="1" dirty="0"/>
              <a:t>Kreisdiagram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de-AT"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TU_Vorlage_Muster V0.21]Beispieldaten'!$B$12</c:f>
              <c:strCache>
                <c:ptCount val="1"/>
                <c:pt idx="0">
                  <c:v>2016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49-4F18-A18C-44EFE031E77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49-4F18-A18C-44EFE031E77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249-4F18-A18C-44EFE031E77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249-4F18-A18C-44EFE031E77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249-4F18-A18C-44EFE031E77F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249-4F18-A18C-44EFE031E77F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249-4F18-A18C-44EFE031E77F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249-4F18-A18C-44EFE031E77F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249-4F18-A18C-44EFE031E77F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249-4F18-A18C-44EFE031E77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[TU_Vorlage_Muster V0.21]Beispieldaten'!$A$13:$A$16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'[TU_Vorlage_Muster V0.21]Beispieldaten'!$B$13:$B$16</c:f>
              <c:numCache>
                <c:formatCode>0.0</c:formatCode>
                <c:ptCount val="4"/>
                <c:pt idx="0">
                  <c:v>4.5</c:v>
                </c:pt>
                <c:pt idx="1">
                  <c:v>4</c:v>
                </c:pt>
                <c:pt idx="2">
                  <c:v>1.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B249-4F18-A18C-44EFE031E77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>
          <a:solidFill>
            <a:sysClr val="windowText" lastClr="000000"/>
          </a:solidFill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de-AT"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de-AT" sz="1400" b="1" dirty="0"/>
              <a:t>Kreisdiagram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de-AT"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7585100302774093"/>
          <c:y val="0.20392252062892441"/>
          <c:w val="0.64829780500592793"/>
          <c:h val="0.65280129492493832"/>
        </c:manualLayout>
      </c:layout>
      <c:pieChart>
        <c:varyColors val="1"/>
        <c:ser>
          <c:idx val="0"/>
          <c:order val="0"/>
          <c:tx>
            <c:strRef>
              <c:f>'[TU_Vorlage_Muster V0.21]Beispieldaten'!$B$12</c:f>
              <c:strCache>
                <c:ptCount val="1"/>
                <c:pt idx="0">
                  <c:v>2016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2C5-4899-B7E9-F04B2A76132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2C5-4899-B7E9-F04B2A76132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2C5-4899-B7E9-F04B2A76132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2C5-4899-B7E9-F04B2A76132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2C5-4899-B7E9-F04B2A76132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2C5-4899-B7E9-F04B2A761321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62C5-4899-B7E9-F04B2A761321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62C5-4899-B7E9-F04B2A761321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62C5-4899-B7E9-F04B2A761321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62C5-4899-B7E9-F04B2A76132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[TU_Vorlage_Muster V0.21]Beispieldaten'!$A$13:$A$16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'[TU_Vorlage_Muster V0.21]Beispieldaten'!$B$13:$B$16</c:f>
              <c:numCache>
                <c:formatCode>0.0</c:formatCode>
                <c:ptCount val="4"/>
                <c:pt idx="0">
                  <c:v>4.5</c:v>
                </c:pt>
                <c:pt idx="1">
                  <c:v>4</c:v>
                </c:pt>
                <c:pt idx="2">
                  <c:v>1.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2C5-4899-B7E9-F04B2A76132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>
          <a:solidFill>
            <a:sysClr val="windowText" lastClr="000000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heme" Target="../theme/theme3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25.09.2024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Nr.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heme" Target="../theme/theme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25.09.2024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5" Type="http://schemas.openxmlformats.org/officeDocument/2006/relationships/slide" Target="../slides/slide10.xml"/><Relationship Id="rId4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5" Type="http://schemas.openxmlformats.org/officeDocument/2006/relationships/slide" Target="../slides/slide11.xml"/><Relationship Id="rId4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5" Type="http://schemas.openxmlformats.org/officeDocument/2006/relationships/slide" Target="../slides/slide12.xml"/><Relationship Id="rId4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5" Type="http://schemas.openxmlformats.org/officeDocument/2006/relationships/slide" Target="../slides/slide13.xml"/><Relationship Id="rId4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5" Type="http://schemas.openxmlformats.org/officeDocument/2006/relationships/slide" Target="../slides/slide14.xml"/><Relationship Id="rId4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5" Type="http://schemas.openxmlformats.org/officeDocument/2006/relationships/slide" Target="../slides/slide15.xml"/><Relationship Id="rId4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88.xml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5" Type="http://schemas.openxmlformats.org/officeDocument/2006/relationships/slide" Target="../slides/slide16.xml"/><Relationship Id="rId4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5" Type="http://schemas.openxmlformats.org/officeDocument/2006/relationships/slide" Target="../slides/slide17.xml"/><Relationship Id="rId4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5" Type="http://schemas.openxmlformats.org/officeDocument/2006/relationships/slide" Target="../slides/slide18.xml"/><Relationship Id="rId4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5" Type="http://schemas.openxmlformats.org/officeDocument/2006/relationships/slide" Target="../slides/slide19.xml"/><Relationship Id="rId4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slide" Target="../slides/slide2.xml"/><Relationship Id="rId4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29.xml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5" Type="http://schemas.openxmlformats.org/officeDocument/2006/relationships/slide" Target="../slides/slide20.xml"/><Relationship Id="rId4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37.xml"/><Relationship Id="rId2" Type="http://schemas.openxmlformats.org/officeDocument/2006/relationships/tags" Target="../tags/tag336.xml"/><Relationship Id="rId1" Type="http://schemas.openxmlformats.org/officeDocument/2006/relationships/tags" Target="../tags/tag335.xml"/><Relationship Id="rId5" Type="http://schemas.openxmlformats.org/officeDocument/2006/relationships/slide" Target="../slides/slide21.xml"/><Relationship Id="rId4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46.xml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5" Type="http://schemas.openxmlformats.org/officeDocument/2006/relationships/slide" Target="../slides/slide22.xml"/><Relationship Id="rId4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355.xml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5" Type="http://schemas.openxmlformats.org/officeDocument/2006/relationships/slide" Target="../slides/slide23.xml"/><Relationship Id="rId4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363.xml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5" Type="http://schemas.openxmlformats.org/officeDocument/2006/relationships/slide" Target="../slides/slide24.xml"/><Relationship Id="rId4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372.xml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5" Type="http://schemas.openxmlformats.org/officeDocument/2006/relationships/slide" Target="../slides/slide25.xml"/><Relationship Id="rId4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379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5" Type="http://schemas.openxmlformats.org/officeDocument/2006/relationships/slide" Target="../slides/slide26.xml"/><Relationship Id="rId4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5" Type="http://schemas.openxmlformats.org/officeDocument/2006/relationships/slide" Target="../slides/slide27.xml"/><Relationship Id="rId4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394.xml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5" Type="http://schemas.openxmlformats.org/officeDocument/2006/relationships/slide" Target="../slides/slide28.xml"/><Relationship Id="rId4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402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5" Type="http://schemas.openxmlformats.org/officeDocument/2006/relationships/slide" Target="../slides/slide29.xml"/><Relationship Id="rId4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5" Type="http://schemas.openxmlformats.org/officeDocument/2006/relationships/slide" Target="../slides/slide3.xml"/><Relationship Id="rId4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410.xml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5" Type="http://schemas.openxmlformats.org/officeDocument/2006/relationships/slide" Target="../slides/slide30.xml"/><Relationship Id="rId4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418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5" Type="http://schemas.openxmlformats.org/officeDocument/2006/relationships/slide" Target="../slides/slide31.xml"/><Relationship Id="rId4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426.xml"/><Relationship Id="rId2" Type="http://schemas.openxmlformats.org/officeDocument/2006/relationships/tags" Target="../tags/tag425.xml"/><Relationship Id="rId1" Type="http://schemas.openxmlformats.org/officeDocument/2006/relationships/tags" Target="../tags/tag424.xml"/><Relationship Id="rId5" Type="http://schemas.openxmlformats.org/officeDocument/2006/relationships/slide" Target="../slides/slide32.xml"/><Relationship Id="rId4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434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5" Type="http://schemas.openxmlformats.org/officeDocument/2006/relationships/slide" Target="../slides/slide33.xml"/><Relationship Id="rId4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444.xml"/><Relationship Id="rId2" Type="http://schemas.openxmlformats.org/officeDocument/2006/relationships/tags" Target="../tags/tag443.xml"/><Relationship Id="rId1" Type="http://schemas.openxmlformats.org/officeDocument/2006/relationships/tags" Target="../tags/tag442.xml"/><Relationship Id="rId5" Type="http://schemas.openxmlformats.org/officeDocument/2006/relationships/slide" Target="../slides/slide34.xml"/><Relationship Id="rId4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455.xml"/><Relationship Id="rId2" Type="http://schemas.openxmlformats.org/officeDocument/2006/relationships/tags" Target="../tags/tag454.xml"/><Relationship Id="rId1" Type="http://schemas.openxmlformats.org/officeDocument/2006/relationships/tags" Target="../tags/tag453.xml"/><Relationship Id="rId5" Type="http://schemas.openxmlformats.org/officeDocument/2006/relationships/slide" Target="../slides/slide35.xml"/><Relationship Id="rId4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464.xml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5" Type="http://schemas.openxmlformats.org/officeDocument/2006/relationships/slide" Target="../slides/slide36.xml"/><Relationship Id="rId4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473.xml"/><Relationship Id="rId2" Type="http://schemas.openxmlformats.org/officeDocument/2006/relationships/tags" Target="../tags/tag472.xml"/><Relationship Id="rId1" Type="http://schemas.openxmlformats.org/officeDocument/2006/relationships/tags" Target="../tags/tag471.xml"/><Relationship Id="rId5" Type="http://schemas.openxmlformats.org/officeDocument/2006/relationships/slide" Target="../slides/slide37.xml"/><Relationship Id="rId4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481.xml"/><Relationship Id="rId2" Type="http://schemas.openxmlformats.org/officeDocument/2006/relationships/tags" Target="../tags/tag480.xml"/><Relationship Id="rId1" Type="http://schemas.openxmlformats.org/officeDocument/2006/relationships/tags" Target="../tags/tag479.xml"/><Relationship Id="rId5" Type="http://schemas.openxmlformats.org/officeDocument/2006/relationships/slide" Target="../slides/slide38.xml"/><Relationship Id="rId4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490.xml"/><Relationship Id="rId2" Type="http://schemas.openxmlformats.org/officeDocument/2006/relationships/tags" Target="../tags/tag489.xml"/><Relationship Id="rId1" Type="http://schemas.openxmlformats.org/officeDocument/2006/relationships/tags" Target="../tags/tag488.xml"/><Relationship Id="rId5" Type="http://schemas.openxmlformats.org/officeDocument/2006/relationships/slide" Target="../slides/slide39.xml"/><Relationship Id="rId4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5" Type="http://schemas.openxmlformats.org/officeDocument/2006/relationships/slide" Target="../slides/slide4.xml"/><Relationship Id="rId4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5" Type="http://schemas.openxmlformats.org/officeDocument/2006/relationships/slide" Target="../slides/slide5.xml"/><Relationship Id="rId4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5" Type="http://schemas.openxmlformats.org/officeDocument/2006/relationships/slide" Target="../slides/slide6.xml"/><Relationship Id="rId4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5" Type="http://schemas.openxmlformats.org/officeDocument/2006/relationships/slide" Target="../slides/slide7.xml"/><Relationship Id="rId4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5" Type="http://schemas.openxmlformats.org/officeDocument/2006/relationships/slide" Target="../slides/slide8.xml"/><Relationship Id="rId4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5" Type="http://schemas.openxmlformats.org/officeDocument/2006/relationships/slide" Target="../slides/slide9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064100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74735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815572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914805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015593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229815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563403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313332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592635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592635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37608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88234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745740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63435328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9097513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17417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314212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735601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1497427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4130593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0403959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413059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498621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9119845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278105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139439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9332304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791332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4251831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417539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843662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8125830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870111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55833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720660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6708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721427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357111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321122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svg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0.xml"/><Relationship Id="rId7" Type="http://schemas.openxmlformats.org/officeDocument/2006/relationships/image" Target="../media/image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9.xml"/><Relationship Id="rId7" Type="http://schemas.openxmlformats.org/officeDocument/2006/relationships/image" Target="../media/image1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sv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7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image" Target="../media/image7.svg"/><Relationship Id="rId4" Type="http://schemas.openxmlformats.org/officeDocument/2006/relationships/tags" Target="../tags/tag126.xml"/><Relationship Id="rId9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7.svg"/><Relationship Id="rId4" Type="http://schemas.openxmlformats.org/officeDocument/2006/relationships/tags" Target="../tags/tag133.xml"/><Relationship Id="rId9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7.svg"/><Relationship Id="rId5" Type="http://schemas.openxmlformats.org/officeDocument/2006/relationships/tags" Target="../tags/tag141.xml"/><Relationship Id="rId10" Type="http://schemas.openxmlformats.org/officeDocument/2006/relationships/image" Target="../media/image6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4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52.xml"/><Relationship Id="rId7" Type="http://schemas.openxmlformats.org/officeDocument/2006/relationships/image" Target="../media/image6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7.sv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61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svg"/><Relationship Id="rId4" Type="http://schemas.openxmlformats.org/officeDocument/2006/relationships/tags" Target="../tags/tag43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svg"/><Relationship Id="rId5" Type="http://schemas.openxmlformats.org/officeDocument/2006/relationships/tags" Target="../tags/tag51.xml"/><Relationship Id="rId10" Type="http://schemas.openxmlformats.org/officeDocument/2006/relationships/image" Target="../media/image1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5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6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8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39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7" Type="http://schemas.openxmlformats.org/officeDocument/2006/relationships/hyperlink" Target="https://www.cs.ubc.ca/~hoos/SATLIB/benchm.html" TargetMode="Externa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2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7" Type="http://schemas.openxmlformats.org/officeDocument/2006/relationships/image" Target="../media/image14.pn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24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7" Type="http://schemas.openxmlformats.org/officeDocument/2006/relationships/image" Target="../media/image15.png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25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mailto:Marianne.muster@tuwien.ac.at" TargetMode="External"/><Relationship Id="rId3" Type="http://schemas.openxmlformats.org/officeDocument/2006/relationships/tags" Target="../tags/tag260.xml"/><Relationship Id="rId7" Type="http://schemas.openxmlformats.org/officeDocument/2006/relationships/hyperlink" Target="https://github.com/Rapi1234/satext" TargetMode="Externa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32.xml"/><Relationship Id="rId4" Type="http://schemas.openxmlformats.org/officeDocument/2006/relationships/tags" Target="../tags/tag26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285.xml"/><Relationship Id="rId4" Type="http://schemas.openxmlformats.org/officeDocument/2006/relationships/tags" Target="../tags/tag28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291.xml"/><Relationship Id="rId7" Type="http://schemas.openxmlformats.org/officeDocument/2006/relationships/tags" Target="../tags/tag295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5" Type="http://schemas.openxmlformats.org/officeDocument/2006/relationships/tags" Target="../tags/tag293.xml"/><Relationship Id="rId4" Type="http://schemas.openxmlformats.org/officeDocument/2006/relationships/tags" Target="../tags/tag292.xml"/><Relationship Id="rId9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06.xml"/><Relationship Id="rId3" Type="http://schemas.openxmlformats.org/officeDocument/2006/relationships/tags" Target="../tags/tag301.xml"/><Relationship Id="rId7" Type="http://schemas.openxmlformats.org/officeDocument/2006/relationships/tags" Target="../tags/tag305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tags" Target="../tags/tag304.xml"/><Relationship Id="rId11" Type="http://schemas.openxmlformats.org/officeDocument/2006/relationships/notesSlide" Target="../notesSlides/notesSlide18.xml"/><Relationship Id="rId5" Type="http://schemas.openxmlformats.org/officeDocument/2006/relationships/tags" Target="../tags/tag303.xml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302.xml"/><Relationship Id="rId9" Type="http://schemas.openxmlformats.org/officeDocument/2006/relationships/tags" Target="../tags/tag30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18.xml"/><Relationship Id="rId3" Type="http://schemas.openxmlformats.org/officeDocument/2006/relationships/tags" Target="../tags/tag313.xml"/><Relationship Id="rId7" Type="http://schemas.openxmlformats.org/officeDocument/2006/relationships/tags" Target="../tags/tag317.xml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tags" Target="../tags/tag316.xml"/><Relationship Id="rId5" Type="http://schemas.openxmlformats.org/officeDocument/2006/relationships/tags" Target="../tags/tag315.xml"/><Relationship Id="rId10" Type="http://schemas.openxmlformats.org/officeDocument/2006/relationships/notesSlide" Target="../notesSlides/notesSlide19.xml"/><Relationship Id="rId4" Type="http://schemas.openxmlformats.org/officeDocument/2006/relationships/tags" Target="../tags/tag314.xml"/><Relationship Id="rId9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3" Type="http://schemas.openxmlformats.org/officeDocument/2006/relationships/tags" Target="../tags/tag186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188.xml"/><Relationship Id="rId4" Type="http://schemas.openxmlformats.org/officeDocument/2006/relationships/tags" Target="../tags/tag187.xml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7" Type="http://schemas.openxmlformats.org/officeDocument/2006/relationships/notesSlide" Target="../notesSlides/notesSlide20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326.xml"/><Relationship Id="rId4" Type="http://schemas.openxmlformats.org/officeDocument/2006/relationships/tags" Target="../tags/tag3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32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334.xml"/><Relationship Id="rId4" Type="http://schemas.openxmlformats.org/officeDocument/2006/relationships/tags" Target="../tags/tag33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3" Type="http://schemas.openxmlformats.org/officeDocument/2006/relationships/tags" Target="../tags/tag340.xml"/><Relationship Id="rId7" Type="http://schemas.openxmlformats.org/officeDocument/2006/relationships/slideLayout" Target="../slideLayouts/slideLayout11.xml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tags" Target="../tags/tag343.xml"/><Relationship Id="rId5" Type="http://schemas.openxmlformats.org/officeDocument/2006/relationships/tags" Target="../tags/tag342.xml"/><Relationship Id="rId4" Type="http://schemas.openxmlformats.org/officeDocument/2006/relationships/tags" Target="../tags/tag341.xml"/><Relationship Id="rId9" Type="http://schemas.openxmlformats.org/officeDocument/2006/relationships/image" Target="../media/image16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3.xml"/><Relationship Id="rId3" Type="http://schemas.openxmlformats.org/officeDocument/2006/relationships/tags" Target="../tags/tag349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5" Type="http://schemas.openxmlformats.org/officeDocument/2006/relationships/tags" Target="../tags/tag351.xml"/><Relationship Id="rId4" Type="http://schemas.openxmlformats.org/officeDocument/2006/relationships/tags" Target="../tags/tag350.xml"/><Relationship Id="rId9" Type="http://schemas.openxmlformats.org/officeDocument/2006/relationships/image" Target="../media/image1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358.xml"/><Relationship Id="rId7" Type="http://schemas.openxmlformats.org/officeDocument/2006/relationships/notesSlide" Target="../notesSlides/notesSlide24.xml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60.xml"/><Relationship Id="rId4" Type="http://schemas.openxmlformats.org/officeDocument/2006/relationships/tags" Target="../tags/tag35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5.xml"/><Relationship Id="rId3" Type="http://schemas.openxmlformats.org/officeDocument/2006/relationships/tags" Target="../tags/tag366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tags" Target="../tags/tag369.xml"/><Relationship Id="rId5" Type="http://schemas.openxmlformats.org/officeDocument/2006/relationships/tags" Target="../tags/tag368.xml"/><Relationship Id="rId4" Type="http://schemas.openxmlformats.org/officeDocument/2006/relationships/tags" Target="../tags/tag367.xml"/><Relationship Id="rId9" Type="http://schemas.openxmlformats.org/officeDocument/2006/relationships/chart" Target="../charts/char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375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7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382.xml"/><Relationship Id="rId7" Type="http://schemas.openxmlformats.org/officeDocument/2006/relationships/notesSlide" Target="../notesSlides/notesSlide27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384.xml"/><Relationship Id="rId4" Type="http://schemas.openxmlformats.org/officeDocument/2006/relationships/tags" Target="../tags/tag38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390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39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97.xml"/><Relationship Id="rId7" Type="http://schemas.openxmlformats.org/officeDocument/2006/relationships/notesSlide" Target="../notesSlides/notesSlide29.xml"/><Relationship Id="rId2" Type="http://schemas.openxmlformats.org/officeDocument/2006/relationships/tags" Target="../tags/tag396.xml"/><Relationship Id="rId1" Type="http://schemas.openxmlformats.org/officeDocument/2006/relationships/tags" Target="../tags/tag395.x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399.xml"/><Relationship Id="rId4" Type="http://schemas.openxmlformats.org/officeDocument/2006/relationships/tags" Target="../tags/tag39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19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05.xml"/><Relationship Id="rId7" Type="http://schemas.openxmlformats.org/officeDocument/2006/relationships/notesSlide" Target="../notesSlides/notesSlide30.xml"/><Relationship Id="rId2" Type="http://schemas.openxmlformats.org/officeDocument/2006/relationships/tags" Target="../tags/tag404.xml"/><Relationship Id="rId1" Type="http://schemas.openxmlformats.org/officeDocument/2006/relationships/tags" Target="../tags/tag403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07.xml"/><Relationship Id="rId4" Type="http://schemas.openxmlformats.org/officeDocument/2006/relationships/tags" Target="../tags/tag40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13.xml"/><Relationship Id="rId7" Type="http://schemas.openxmlformats.org/officeDocument/2006/relationships/notesSlide" Target="../notesSlides/notesSlide31.xml"/><Relationship Id="rId2" Type="http://schemas.openxmlformats.org/officeDocument/2006/relationships/tags" Target="../tags/tag412.xml"/><Relationship Id="rId1" Type="http://schemas.openxmlformats.org/officeDocument/2006/relationships/tags" Target="../tags/tag411.x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415.xml"/><Relationship Id="rId4" Type="http://schemas.openxmlformats.org/officeDocument/2006/relationships/tags" Target="../tags/tag41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21.xml"/><Relationship Id="rId7" Type="http://schemas.openxmlformats.org/officeDocument/2006/relationships/notesSlide" Target="../notesSlides/notesSlide32.xml"/><Relationship Id="rId2" Type="http://schemas.openxmlformats.org/officeDocument/2006/relationships/tags" Target="../tags/tag420.xml"/><Relationship Id="rId1" Type="http://schemas.openxmlformats.org/officeDocument/2006/relationships/tags" Target="../tags/tag419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423.xml"/><Relationship Id="rId4" Type="http://schemas.openxmlformats.org/officeDocument/2006/relationships/tags" Target="../tags/tag42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429.xml"/><Relationship Id="rId7" Type="http://schemas.openxmlformats.org/officeDocument/2006/relationships/notesSlide" Target="../notesSlides/notesSlide33.xml"/><Relationship Id="rId2" Type="http://schemas.openxmlformats.org/officeDocument/2006/relationships/tags" Target="../tags/tag428.xml"/><Relationship Id="rId1" Type="http://schemas.openxmlformats.org/officeDocument/2006/relationships/tags" Target="../tags/tag427.x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431.xml"/><Relationship Id="rId4" Type="http://schemas.openxmlformats.org/officeDocument/2006/relationships/tags" Target="../tags/tag430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tags" Target="../tags/tag437.xml"/><Relationship Id="rId7" Type="http://schemas.openxmlformats.org/officeDocument/2006/relationships/tags" Target="../tags/tag441.xml"/><Relationship Id="rId2" Type="http://schemas.openxmlformats.org/officeDocument/2006/relationships/tags" Target="../tags/tag436.xml"/><Relationship Id="rId1" Type="http://schemas.openxmlformats.org/officeDocument/2006/relationships/tags" Target="../tags/tag435.xml"/><Relationship Id="rId6" Type="http://schemas.openxmlformats.org/officeDocument/2006/relationships/tags" Target="../tags/tag440.xml"/><Relationship Id="rId5" Type="http://schemas.openxmlformats.org/officeDocument/2006/relationships/tags" Target="../tags/tag439.xml"/><Relationship Id="rId4" Type="http://schemas.openxmlformats.org/officeDocument/2006/relationships/tags" Target="../tags/tag438.xml"/><Relationship Id="rId9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452.xml"/><Relationship Id="rId3" Type="http://schemas.openxmlformats.org/officeDocument/2006/relationships/tags" Target="../tags/tag447.xml"/><Relationship Id="rId7" Type="http://schemas.openxmlformats.org/officeDocument/2006/relationships/tags" Target="../tags/tag451.xml"/><Relationship Id="rId2" Type="http://schemas.openxmlformats.org/officeDocument/2006/relationships/tags" Target="../tags/tag446.xml"/><Relationship Id="rId1" Type="http://schemas.openxmlformats.org/officeDocument/2006/relationships/tags" Target="../tags/tag445.xml"/><Relationship Id="rId6" Type="http://schemas.openxmlformats.org/officeDocument/2006/relationships/tags" Target="../tags/tag450.xml"/><Relationship Id="rId5" Type="http://schemas.openxmlformats.org/officeDocument/2006/relationships/tags" Target="../tags/tag449.xml"/><Relationship Id="rId10" Type="http://schemas.openxmlformats.org/officeDocument/2006/relationships/notesSlide" Target="../notesSlides/notesSlide35.xml"/><Relationship Id="rId4" Type="http://schemas.openxmlformats.org/officeDocument/2006/relationships/tags" Target="../tags/tag448.xml"/><Relationship Id="rId9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6.xml"/><Relationship Id="rId3" Type="http://schemas.openxmlformats.org/officeDocument/2006/relationships/tags" Target="../tags/tag458.xml"/><Relationship Id="rId7" Type="http://schemas.openxmlformats.org/officeDocument/2006/relationships/slideLayout" Target="../slideLayouts/slideLayout28.xml"/><Relationship Id="rId2" Type="http://schemas.openxmlformats.org/officeDocument/2006/relationships/tags" Target="../tags/tag457.xml"/><Relationship Id="rId1" Type="http://schemas.openxmlformats.org/officeDocument/2006/relationships/tags" Target="../tags/tag456.xml"/><Relationship Id="rId6" Type="http://schemas.openxmlformats.org/officeDocument/2006/relationships/tags" Target="../tags/tag461.xml"/><Relationship Id="rId5" Type="http://schemas.openxmlformats.org/officeDocument/2006/relationships/tags" Target="../tags/tag460.xml"/><Relationship Id="rId4" Type="http://schemas.openxmlformats.org/officeDocument/2006/relationships/tags" Target="../tags/tag459.xml"/><Relationship Id="rId9" Type="http://schemas.openxmlformats.org/officeDocument/2006/relationships/image" Target="../media/image1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7.xml"/><Relationship Id="rId3" Type="http://schemas.openxmlformats.org/officeDocument/2006/relationships/tags" Target="../tags/tag467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466.xml"/><Relationship Id="rId1" Type="http://schemas.openxmlformats.org/officeDocument/2006/relationships/tags" Target="../tags/tag465.xml"/><Relationship Id="rId6" Type="http://schemas.openxmlformats.org/officeDocument/2006/relationships/tags" Target="../tags/tag470.xml"/><Relationship Id="rId5" Type="http://schemas.openxmlformats.org/officeDocument/2006/relationships/tags" Target="../tags/tag469.xml"/><Relationship Id="rId4" Type="http://schemas.openxmlformats.org/officeDocument/2006/relationships/tags" Target="../tags/tag468.xml"/><Relationship Id="rId9" Type="http://schemas.openxmlformats.org/officeDocument/2006/relationships/image" Target="../media/image2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476.xml"/><Relationship Id="rId7" Type="http://schemas.openxmlformats.org/officeDocument/2006/relationships/notesSlide" Target="../notesSlides/notesSlide38.xml"/><Relationship Id="rId2" Type="http://schemas.openxmlformats.org/officeDocument/2006/relationships/tags" Target="../tags/tag475.xml"/><Relationship Id="rId1" Type="http://schemas.openxmlformats.org/officeDocument/2006/relationships/tags" Target="../tags/tag474.xml"/><Relationship Id="rId6" Type="http://schemas.openxmlformats.org/officeDocument/2006/relationships/slideLayout" Target="../slideLayouts/slideLayout30.xml"/><Relationship Id="rId5" Type="http://schemas.openxmlformats.org/officeDocument/2006/relationships/tags" Target="../tags/tag478.xml"/><Relationship Id="rId4" Type="http://schemas.openxmlformats.org/officeDocument/2006/relationships/tags" Target="../tags/tag47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9.xml"/><Relationship Id="rId3" Type="http://schemas.openxmlformats.org/officeDocument/2006/relationships/tags" Target="../tags/tag484.xml"/><Relationship Id="rId7" Type="http://schemas.openxmlformats.org/officeDocument/2006/relationships/slideLayout" Target="../slideLayouts/slideLayout31.xml"/><Relationship Id="rId2" Type="http://schemas.openxmlformats.org/officeDocument/2006/relationships/tags" Target="../tags/tag483.xml"/><Relationship Id="rId1" Type="http://schemas.openxmlformats.org/officeDocument/2006/relationships/tags" Target="../tags/tag482.xml"/><Relationship Id="rId6" Type="http://schemas.openxmlformats.org/officeDocument/2006/relationships/tags" Target="../tags/tag487.xml"/><Relationship Id="rId5" Type="http://schemas.openxmlformats.org/officeDocument/2006/relationships/tags" Target="../tags/tag486.xml"/><Relationship Id="rId4" Type="http://schemas.openxmlformats.org/officeDocument/2006/relationships/tags" Target="../tags/tag485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203.xml"/><Relationship Id="rId4" Type="http://schemas.openxmlformats.org/officeDocument/2006/relationships/tags" Target="../tags/tag20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image" Target="../media/image9.pn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7" Type="http://schemas.openxmlformats.org/officeDocument/2006/relationships/image" Target="../media/image10.png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image" Target="../media/image9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21.xml"/><Relationship Id="rId7" Type="http://schemas.openxmlformats.org/officeDocument/2006/relationships/image" Target="../media/image10.png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9.pn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27.xml"/><Relationship Id="rId7" Type="http://schemas.openxmlformats.org/officeDocument/2006/relationships/image" Target="../media/image10.png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image" Target="../media/image9.pn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7" Type="http://schemas.openxmlformats.org/officeDocument/2006/relationships/image" Target="../media/image13.png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12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DC556A-B41E-4B2F-8C99-140CFA3FBFC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61963" y="4438899"/>
            <a:ext cx="10134599" cy="1039564"/>
          </a:xfrm>
        </p:spPr>
        <p:txBody>
          <a:bodyPr/>
          <a:lstStyle/>
          <a:p>
            <a:r>
              <a:rPr lang="de-AT" dirty="0"/>
              <a:t>SAT </a:t>
            </a:r>
            <a:r>
              <a:rPr lang="de-AT" dirty="0" err="1"/>
              <a:t>Solving</a:t>
            </a:r>
            <a:r>
              <a:rPr lang="de-AT" dirty="0"/>
              <a:t> </a:t>
            </a:r>
            <a:br>
              <a:rPr lang="de-AT" dirty="0"/>
            </a:br>
            <a:r>
              <a:rPr lang="de-AT" dirty="0" err="1"/>
              <a:t>maxSAT</a:t>
            </a:r>
            <a:r>
              <a:rPr lang="de-AT" dirty="0"/>
              <a:t> </a:t>
            </a:r>
            <a:r>
              <a:rPr lang="de-AT" dirty="0" err="1"/>
              <a:t>implementaion</a:t>
            </a:r>
            <a:endParaRPr lang="de-AT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D7F2532-3445-42FF-A67C-2FEBC1EBE2E9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/>
          <a:p>
            <a:r>
              <a:rPr lang="de-AT" dirty="0"/>
              <a:t>Thomas Rapberg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F67DC2-96F0-420C-817E-D91C67D8B989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/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B89FB8-9762-4BC8-84AD-DE410AA8BF61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2093011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Evalu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0</a:t>
            </a:fld>
            <a:endParaRPr lang="de-AT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90FEC2B-D164-D152-A92D-82482CD2BE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mplemented a test environment</a:t>
            </a:r>
          </a:p>
          <a:p>
            <a:r>
              <a:rPr lang="en-US" dirty="0"/>
              <a:t>Benchmark with SATLIB – Benchmark Problems</a:t>
            </a:r>
          </a:p>
          <a:p>
            <a:r>
              <a:rPr lang="en-US" dirty="0"/>
              <a:t>Verified result of own implementation</a:t>
            </a:r>
          </a:p>
          <a:p>
            <a:r>
              <a:rPr lang="en-US" dirty="0"/>
              <a:t>Compared runtime of all three with RC2 Solver</a:t>
            </a:r>
          </a:p>
          <a:p>
            <a:endParaRPr lang="en-US" dirty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D4C8B729-897D-8381-151E-E7525A10E5E7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SOURCE:  </a:t>
            </a:r>
            <a:r>
              <a:rPr lang="en-US" dirty="0">
                <a:hlinkClick r:id="rId7"/>
              </a:rPr>
              <a:t>https://www.cs.ubc.ca/~hoos/SATLIB/benchm.html</a:t>
            </a:r>
            <a:r>
              <a:rPr lang="de-AT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0182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Evaluation – without SAT to UNSA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1</a:t>
            </a:fld>
            <a:endParaRPr lang="de-AT" dirty="0"/>
          </a:p>
        </p:txBody>
      </p:sp>
      <p:pic>
        <p:nvPicPr>
          <p:cNvPr id="8" name="Inhaltsplatzhalter 7" descr="Ein Bild, das Text, Diagramm, Reihe, Schrift enthält.&#10;&#10;Automatisch generierte Beschreibung">
            <a:extLst>
              <a:ext uri="{FF2B5EF4-FFF2-40B4-BE49-F238E27FC236}">
                <a16:creationId xmlns:a16="http://schemas.microsoft.com/office/drawing/2014/main" id="{8E8C920A-88BA-997D-4B42-63EF891930C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4249" y="889740"/>
            <a:ext cx="8123502" cy="4874102"/>
          </a:xfrm>
        </p:spPr>
      </p:pic>
      <p:sp>
        <p:nvSpPr>
          <p:cNvPr id="7" name="Textplatzhalter 9">
            <a:extLst>
              <a:ext uri="{FF2B5EF4-FFF2-40B4-BE49-F238E27FC236}">
                <a16:creationId xmlns:a16="http://schemas.microsoft.com/office/drawing/2014/main" id="{D4C8B729-897D-8381-151E-E7525A10E5E7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vert="horz" lIns="0" tIns="0" rIns="0" bIns="0" rtlCol="0" anchor="b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61144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Evaluation – without SAT to UNSA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2</a:t>
            </a:fld>
            <a:endParaRPr lang="de-AT" dirty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D4C8B729-897D-8381-151E-E7525A10E5E7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vert="horz" lIns="0" tIns="0" rIns="0" bIns="0" rtlCol="0" anchor="b">
            <a:noAutofit/>
          </a:bodyPr>
          <a:lstStyle/>
          <a:p>
            <a:endParaRPr lang="en-US" dirty="0"/>
          </a:p>
        </p:txBody>
      </p:sp>
      <p:pic>
        <p:nvPicPr>
          <p:cNvPr id="10" name="Grafik 9" descr="Ein Bild, das Text, Diagramm, Reihe, Screenshot enthält.&#10;&#10;Automatisch generierte Beschreibung">
            <a:extLst>
              <a:ext uri="{FF2B5EF4-FFF2-40B4-BE49-F238E27FC236}">
                <a16:creationId xmlns:a16="http://schemas.microsoft.com/office/drawing/2014/main" id="{51DDBE4D-A08F-C7F1-4576-82476A2A42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063" y="991949"/>
            <a:ext cx="8123502" cy="4874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7031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DA8D6E1-6049-45E7-A669-EB17299D562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61963" y="2184399"/>
            <a:ext cx="11250611" cy="533401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AF91D08-566E-4A8E-AA4F-1FD67818F0F9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07069" y="3429000"/>
            <a:ext cx="9289494" cy="2455545"/>
          </a:xfrm>
        </p:spPr>
        <p:txBody>
          <a:bodyPr anchor="b"/>
          <a:lstStyle/>
          <a:p>
            <a:r>
              <a:rPr lang="de-AT" dirty="0"/>
              <a:t>Thomas Rapberger</a:t>
            </a:r>
          </a:p>
          <a:p>
            <a:r>
              <a:rPr lang="de-AT" dirty="0"/>
              <a:t>Technische Universität Wien</a:t>
            </a:r>
          </a:p>
          <a:p>
            <a:r>
              <a:rPr lang="de-AT" dirty="0"/>
              <a:t>Source: </a:t>
            </a:r>
            <a:r>
              <a:rPr lang="de-AT" dirty="0">
                <a:hlinkClick r:id="rId7"/>
              </a:rPr>
              <a:t>https://github.com/Rapi1234/satext</a:t>
            </a:r>
            <a:r>
              <a:rPr lang="de-AT" dirty="0"/>
              <a:t> </a:t>
            </a:r>
          </a:p>
          <a:p>
            <a:r>
              <a:rPr lang="de-AT" dirty="0">
                <a:hlinkClick r:id="rId8"/>
              </a:rPr>
              <a:t>e51867996@student.tuwien.ac.at</a:t>
            </a:r>
            <a:endParaRPr lang="de-AT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2FA9199-DB6D-496C-8807-48AA9B841223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67F6D3-8E61-48E9-ADFE-E4612210FDA2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3</a:t>
            </a:fld>
            <a:endParaRPr lang="de-AT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A7FECCB-EB74-005D-513B-BAAD760F8DEB}"/>
              </a:ext>
            </a:extLst>
          </p:cNvPr>
          <p:cNvSpPr txBox="1"/>
          <p:nvPr/>
        </p:nvSpPr>
        <p:spPr>
          <a:xfrm>
            <a:off x="5110077" y="2624391"/>
            <a:ext cx="19543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i="1" dirty="0"/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18600333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A85F2F-BC66-4BFE-9993-10CD568B5EBD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308100" y="2276475"/>
            <a:ext cx="9577388" cy="1524000"/>
          </a:xfrm>
        </p:spPr>
        <p:txBody>
          <a:bodyPr/>
          <a:lstStyle/>
          <a:p>
            <a:r>
              <a:rPr lang="de-AT" dirty="0"/>
              <a:t>Folienlayout „Titel“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518FF93-C368-496C-9C7E-B5FDFB4EDC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308100" y="3971926"/>
            <a:ext cx="9577388" cy="1104900"/>
          </a:xfrm>
        </p:spPr>
        <p:txBody>
          <a:bodyPr/>
          <a:lstStyle/>
          <a:p>
            <a:r>
              <a:rPr lang="de-AT" dirty="0"/>
              <a:t>Platz für Untertitel, </a:t>
            </a:r>
            <a:br>
              <a:rPr lang="de-AT" dirty="0"/>
            </a:br>
            <a:r>
              <a:rPr lang="de-AT" dirty="0"/>
              <a:t>auch 2-zeilig möglich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EBBC48B-484D-472E-91AC-ADA8035C69B2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/>
        <p:txBody>
          <a:bodyPr/>
          <a:lstStyle/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13645626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58EFD07-3B9E-403A-9444-57DE703B502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9" y="1549399"/>
            <a:ext cx="9275208" cy="828675"/>
          </a:xfrm>
        </p:spPr>
        <p:txBody>
          <a:bodyPr/>
          <a:lstStyle/>
          <a:p>
            <a:r>
              <a:rPr lang="de-AT" dirty="0"/>
              <a:t>Folienlayout „Agenda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29FA5FA-4B52-4796-89D6-6C1267FAC55B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1307069" y="2620963"/>
            <a:ext cx="4465081" cy="3103562"/>
          </a:xfrm>
        </p:spPr>
        <p:txBody>
          <a:bodyPr/>
          <a:lstStyle/>
          <a:p>
            <a:r>
              <a:rPr lang="de-AT" dirty="0"/>
              <a:t>Überschrift Ebene 1</a:t>
            </a:r>
          </a:p>
          <a:p>
            <a:pPr lvl="1"/>
            <a:r>
              <a:rPr lang="de-AT" dirty="0"/>
              <a:t>Untergeordnete Überschrift </a:t>
            </a:r>
            <a:br>
              <a:rPr lang="de-AT" dirty="0"/>
            </a:br>
            <a:r>
              <a:rPr lang="de-AT" dirty="0"/>
              <a:t>Ebene 2</a:t>
            </a:r>
          </a:p>
          <a:p>
            <a:pPr lvl="1"/>
            <a:r>
              <a:rPr lang="de-AT" dirty="0"/>
              <a:t>Und noch einmal Ebene 2</a:t>
            </a:r>
          </a:p>
          <a:p>
            <a:pPr lvl="1"/>
            <a:r>
              <a:rPr lang="de-AT" dirty="0"/>
              <a:t>Und ein drittes Mal</a:t>
            </a:r>
          </a:p>
          <a:p>
            <a:r>
              <a:rPr lang="de-AT" dirty="0"/>
              <a:t>Und hier wieder Ebene 1</a:t>
            </a:r>
          </a:p>
          <a:p>
            <a:endParaRPr lang="de-AT" dirty="0"/>
          </a:p>
          <a:p>
            <a:endParaRPr lang="de-AT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B8CA732-EE38-450F-AD4F-A86490BB396D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3"/>
            </p:custDataLst>
          </p:nvPr>
        </p:nvSpPr>
        <p:spPr>
          <a:xfrm>
            <a:off x="1308499" y="5724525"/>
            <a:ext cx="4480406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E32108A-4782-4174-8B4D-0BD1570FEC07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6117196" y="2620963"/>
            <a:ext cx="4465081" cy="3103562"/>
          </a:xfrm>
        </p:spPr>
        <p:txBody>
          <a:bodyPr/>
          <a:lstStyle/>
          <a:p>
            <a:r>
              <a:rPr lang="de-AT" dirty="0"/>
              <a:t>Überschrift Ebene 1</a:t>
            </a:r>
          </a:p>
          <a:p>
            <a:pPr lvl="1"/>
            <a:r>
              <a:rPr lang="de-AT" dirty="0"/>
              <a:t>Untergeordnete Überschrift </a:t>
            </a:r>
            <a:br>
              <a:rPr lang="de-AT" dirty="0"/>
            </a:br>
            <a:r>
              <a:rPr lang="de-AT" dirty="0"/>
              <a:t>Ebene 2</a:t>
            </a:r>
          </a:p>
          <a:p>
            <a:pPr lvl="1"/>
            <a:r>
              <a:rPr lang="de-AT" dirty="0"/>
              <a:t>Und noch einmal Ebene 2</a:t>
            </a:r>
          </a:p>
          <a:p>
            <a:pPr lvl="1"/>
            <a:r>
              <a:rPr lang="de-AT" dirty="0"/>
              <a:t>Und ein drittes Mal</a:t>
            </a:r>
          </a:p>
          <a:p>
            <a:r>
              <a:rPr lang="de-AT" dirty="0"/>
              <a:t>Und hier wieder Ebene 1</a:t>
            </a:r>
          </a:p>
          <a:p>
            <a:endParaRPr lang="de-AT" dirty="0"/>
          </a:p>
          <a:p>
            <a:endParaRPr lang="de-AT" dirty="0"/>
          </a:p>
          <a:p>
            <a:endParaRPr lang="de-AT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E89AF7D9-F124-4F6B-B76E-78688E69AAA3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5"/>
            </p:custDataLst>
          </p:nvPr>
        </p:nvSpPr>
        <p:spPr>
          <a:xfrm>
            <a:off x="6116158" y="5724525"/>
            <a:ext cx="4480406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8C7B9B-F04D-4A71-8F74-BB5D1600DBF9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6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666D920-BF8B-4042-AC09-ED45BE7842B2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7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781317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8907CFC-E65A-467F-AFCC-BFAD08AE780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AT" dirty="0"/>
              <a:t>Folienlayout „Titel und Inhalt“ (= Standard)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8D04C61-1ED0-4FCD-BC51-A48AFDB0725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/>
          <a:p>
            <a:r>
              <a:rPr lang="de-AT" dirty="0"/>
              <a:t>Platz für beliebige Inhalt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9918E79-FA36-4438-8612-57DCC113BA26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>
          <a:xfrm>
            <a:off x="1308100" y="5795962"/>
            <a:ext cx="9288463" cy="100013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020160F-2D80-4139-9156-9F5A507E0AA7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287408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AT" dirty="0"/>
              <a:t>Folienlayout „2 Inhalte“ 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/>
          <a:p>
            <a:r>
              <a:rPr lang="de-AT" dirty="0"/>
              <a:t>Platzhalter können mit </a:t>
            </a:r>
            <a:r>
              <a:rPr lang="de-AT" dirty="0" err="1"/>
              <a:t>verschie</a:t>
            </a:r>
            <a:r>
              <a:rPr lang="de-AT" dirty="0"/>
              <a:t>-denen Inhalten gefüllt werden. </a:t>
            </a:r>
          </a:p>
          <a:p>
            <a:r>
              <a:rPr lang="de-AT" dirty="0"/>
              <a:t>Hauptthema</a:t>
            </a:r>
          </a:p>
          <a:p>
            <a:r>
              <a:rPr lang="de-AT" dirty="0" err="1"/>
              <a:t>Subthema</a:t>
            </a:r>
            <a:endParaRPr lang="de-AT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dirty="0"/>
              <a:t>Hervorhebung hier manuell fett</a:t>
            </a:r>
          </a:p>
          <a:p>
            <a:pPr lvl="1"/>
            <a:r>
              <a:rPr lang="de-AT" dirty="0"/>
              <a:t>Und noch eine Zeile</a:t>
            </a:r>
          </a:p>
          <a:p>
            <a:r>
              <a:rPr lang="de-AT" dirty="0"/>
              <a:t>Hier wieder ein Hauptthema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818AABF-CE9A-4B90-A44C-10335898455C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1308100" y="5795963"/>
            <a:ext cx="4464050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/>
          <a:p>
            <a:r>
              <a:rPr lang="de-AT" dirty="0"/>
              <a:t>Hauptthema</a:t>
            </a:r>
          </a:p>
          <a:p>
            <a:r>
              <a:rPr lang="de-AT" dirty="0" err="1"/>
              <a:t>Subthema</a:t>
            </a:r>
            <a:endParaRPr lang="de-AT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dirty="0"/>
              <a:t>Hervorhebung hier manuell fett</a:t>
            </a:r>
          </a:p>
          <a:p>
            <a:r>
              <a:rPr lang="de-AT" dirty="0" err="1"/>
              <a:t>Subthema</a:t>
            </a:r>
            <a:endParaRPr lang="de-AT" dirty="0"/>
          </a:p>
          <a:p>
            <a:r>
              <a:rPr lang="de-AT" dirty="0" err="1"/>
              <a:t>Subthema</a:t>
            </a:r>
            <a:endParaRPr lang="de-AT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dirty="0"/>
              <a:t>Hervorhebung hier manuell fett</a:t>
            </a:r>
          </a:p>
          <a:p>
            <a:endParaRPr lang="de-AT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DECEDD3-FF15-4CCF-B9B2-E1C1A18B7217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5"/>
            </p:custDataLst>
          </p:nvPr>
        </p:nvSpPr>
        <p:spPr>
          <a:xfrm>
            <a:off x="6419850" y="5795963"/>
            <a:ext cx="4464050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9C2E1CA-30DD-479B-AE35-DE6D252064F3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C381DAE-18EF-45B9-A652-655F84E4927D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298172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AT"/>
              <a:t>Folienlayout „3 Inhalte“</a:t>
            </a:r>
            <a:endParaRPr lang="de-AT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/>
          <a:p>
            <a:pPr marL="0" indent="0">
              <a:buNone/>
            </a:pPr>
            <a:r>
              <a:rPr lang="de-AT" dirty="0"/>
              <a:t>Platzhalter können mit verschiedenen </a:t>
            </a:r>
            <a:r>
              <a:rPr lang="de-AT" dirty="0" err="1"/>
              <a:t>Inhal-ten</a:t>
            </a:r>
            <a:r>
              <a:rPr lang="de-AT" dirty="0"/>
              <a:t> gefüllt werden. 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aupt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lvl="1"/>
            <a:r>
              <a:rPr lang="de-AT" dirty="0"/>
              <a:t>Und noch eine Zei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DECEDD3-FF15-4CCF-B9B2-E1C1A18B7217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3"/>
            </p:custDataLst>
          </p:nvPr>
        </p:nvSpPr>
        <p:spPr>
          <a:xfrm>
            <a:off x="1308100" y="5795963"/>
            <a:ext cx="2879725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/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aupt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dirty="0"/>
              <a:t>Und noch eine Zeile</a:t>
            </a:r>
            <a:endParaRPr lang="de-AT" b="1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818AABF-CE9A-4B90-A44C-10335898455C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5"/>
            </p:custDataLst>
          </p:nvPr>
        </p:nvSpPr>
        <p:spPr>
          <a:xfrm>
            <a:off x="4656138" y="5795963"/>
            <a:ext cx="2879725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58979D1-6337-4C68-898B-5C49EA86D8EB}"/>
              </a:ext>
            </a:extLst>
          </p:cNvPr>
          <p:cNvSpPr>
            <a:spLocks noGrp="1"/>
          </p:cNvSpPr>
          <p:nvPr>
            <p:ph sz="half" idx="17"/>
            <p:custDataLst>
              <p:tags r:id="rId6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/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aupt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dirty="0"/>
              <a:t>Und noch eine Zei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386F145-F092-4C95-A2A7-BB50245D6F9A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8004175" y="5795963"/>
            <a:ext cx="2879725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9C2E1CA-30DD-479B-AE35-DE6D252064F3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8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C381DAE-18EF-45B9-A652-655F84E4927D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9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349458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A40B31D-70C2-4C66-82F6-736B7ECAB0B5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9</a:t>
            </a:fld>
            <a:endParaRPr lang="de-AT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AT" dirty="0"/>
              <a:t>Folienlayout „2 Inhalte … 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8818270-445E-44CE-82E4-85C3DCB1A77C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4"/>
            </p:custDataLst>
          </p:nvPr>
        </p:nvSpPr>
        <p:spPr>
          <a:xfrm>
            <a:off x="1308100" y="5795963"/>
            <a:ext cx="4464050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BA7E6A7-4654-435F-9732-43AA44282F79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xfrm>
            <a:off x="6419849" y="1549401"/>
            <a:ext cx="4464000" cy="828674"/>
          </a:xfrm>
        </p:spPr>
        <p:txBody>
          <a:bodyPr/>
          <a:lstStyle/>
          <a:p>
            <a:r>
              <a:rPr lang="de-AT" dirty="0"/>
              <a:t>… mit </a:t>
            </a:r>
            <a:br>
              <a:rPr lang="de-AT" dirty="0"/>
            </a:br>
            <a:r>
              <a:rPr lang="de-AT" dirty="0"/>
              <a:t>2 Überschriften“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/>
          <a:p>
            <a:r>
              <a:rPr lang="de-AT" dirty="0"/>
              <a:t>Nicht einmal von der </a:t>
            </a:r>
            <a:r>
              <a:rPr lang="de-AT" dirty="0" err="1"/>
              <a:t>allmäch-tigen</a:t>
            </a:r>
            <a:r>
              <a:rPr lang="de-AT" dirty="0"/>
              <a:t> Interpunktion werden die Mustertexte beherrscht – ein geradezu unorthographisches Leben. </a:t>
            </a:r>
          </a:p>
          <a:p>
            <a:r>
              <a:rPr lang="de-AT" dirty="0"/>
              <a:t>Eines Tages aber beschloss eine kleine Zeile Mustertext, ihr Name war Lorem Ipsum, hinaus zu gehen in die weite Grammatik.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BC79DD6-2D88-4850-B63A-3AB4761686B6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419850" y="5795963"/>
            <a:ext cx="4464050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666583-2E2D-4DC1-906C-9AC4DEEBB2E4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54813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Introduction to MaxSA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88709C57-AC09-40BA-9D28-F42F0B8ED5ED}"/>
                  </a:ext>
                </a:extLst>
              </p:cNvPr>
              <p:cNvSpPr>
                <a:spLocks noGrp="1"/>
              </p:cNvSpPr>
              <p:nvPr>
                <p:ph idx="1"/>
                <p:custDataLst>
                  <p:tags r:id="rId2"/>
                </p:custDataLst>
              </p:nvPr>
            </p:nvSpPr>
            <p:spPr/>
            <p:txBody>
              <a:bodyPr/>
              <a:lstStyle/>
              <a:p>
                <a:pPr>
                  <a:buFont typeface="Wingdings" panose="05000000000000000000" pitchFamily="2" charset="2"/>
                  <a:buChar char="§"/>
                </a:pPr>
                <a:r>
                  <a:rPr lang="en-US" dirty="0"/>
                  <a:t>Given a CNF formula </a:t>
                </a:r>
                <a:r>
                  <a:rPr lang="en-US" dirty="0">
                    <a:sym typeface="Wingdings" panose="05000000000000000000" pitchFamily="2" charset="2"/>
                  </a:rPr>
                  <a:t> find maximum number of clauses that can be satisfied.</a:t>
                </a:r>
              </a:p>
              <a:p>
                <a:pPr>
                  <a:buFont typeface="Wingdings" panose="05000000000000000000" pitchFamily="2" charset="2"/>
                  <a:buChar char="§"/>
                </a:pPr>
                <a:r>
                  <a:rPr lang="en-US" dirty="0">
                    <a:sym typeface="Wingdings" panose="05000000000000000000" pitchFamily="2" charset="2"/>
                  </a:rPr>
                  <a:t>Example: </a:t>
                </a:r>
                <a14:m>
                  <m:oMath xmlns:m="http://schemas.openxmlformats.org/officeDocument/2006/math">
                    <m:r>
                      <a:rPr lang="de-AT" b="0" i="0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(</m:t>
                    </m:r>
                    <m:sSub>
                      <m:sSubPr>
                        <m:ctrlPr>
                          <a:rPr lang="de-AT" b="0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AT" b="0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𝑥</m:t>
                        </m:r>
                      </m:e>
                      <m:sub>
                        <m:r>
                          <a:rPr lang="de-AT" b="0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1</m:t>
                        </m:r>
                      </m:sub>
                    </m:sSub>
                    <m:r>
                      <a:rPr lang="de-AT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∨</m:t>
                    </m:r>
                    <m:sSub>
                      <m:sSubPr>
                        <m:ctrlP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𝑥</m:t>
                        </m:r>
                      </m:e>
                      <m:sub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2</m:t>
                        </m:r>
                      </m:sub>
                    </m:sSub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)∧(</m:t>
                    </m:r>
                    <m:acc>
                      <m:accPr>
                        <m:chr m:val="̅"/>
                        <m:ctrlP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1</m:t>
                            </m:r>
                          </m:sub>
                        </m:sSub>
                      </m:e>
                    </m:acc>
                    <m:r>
                      <a:rPr lang="de-AT" b="0" i="1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 </m:t>
                    </m:r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∨</m:t>
                    </m:r>
                    <m:acc>
                      <m:accPr>
                        <m:chr m:val="̅"/>
                        <m:ctrlPr>
                          <a:rPr lang="de-AT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2</m:t>
                            </m:r>
                          </m:sub>
                        </m:sSub>
                      </m:e>
                    </m:acc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)∧(</m:t>
                    </m:r>
                    <m:sSub>
                      <m:sSubPr>
                        <m:ctrlP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𝑥</m:t>
                        </m:r>
                      </m:e>
                      <m:sub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1</m:t>
                        </m:r>
                      </m:sub>
                    </m:sSub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∨</m:t>
                    </m:r>
                    <m:acc>
                      <m:accPr>
                        <m:chr m:val="̅"/>
                        <m:ctrlPr>
                          <a:rPr lang="de-AT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2</m:t>
                            </m:r>
                          </m:sub>
                        </m:sSub>
                      </m:e>
                    </m:acc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)</m:t>
                    </m:r>
                    <m:r>
                      <a:rPr lang="de-AT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∧</m:t>
                    </m:r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(</m:t>
                    </m:r>
                    <m:acc>
                      <m:accPr>
                        <m:chr m:val="̅"/>
                        <m:ctrlPr>
                          <a:rPr lang="de-AT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AT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1</m:t>
                            </m:r>
                          </m:sub>
                        </m:sSub>
                      </m:e>
                    </m:acc>
                    <m:r>
                      <a:rPr lang="de-AT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∨</m:t>
                    </m:r>
                    <m:sSub>
                      <m:sSubPr>
                        <m:ctrlP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𝑥</m:t>
                        </m:r>
                      </m:e>
                      <m:sub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2</m:t>
                        </m:r>
                      </m:sub>
                    </m:sSub>
                    <m:r>
                      <a:rPr lang="de-AT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)</m:t>
                    </m:r>
                  </m:oMath>
                </a14:m>
                <a:r>
                  <a:rPr lang="en-US" dirty="0">
                    <a:sym typeface="Wingdings" panose="05000000000000000000" pitchFamily="2" charset="2"/>
                  </a:rPr>
                  <a:t> UNSAT</a:t>
                </a:r>
              </a:p>
              <a:p>
                <a:pPr>
                  <a:buFont typeface="Wingdings" panose="05000000000000000000" pitchFamily="2" charset="2"/>
                  <a:buChar char="§"/>
                </a:pPr>
                <a:r>
                  <a:rPr lang="en-US" dirty="0">
                    <a:sym typeface="Wingdings" panose="05000000000000000000" pitchFamily="2" charset="2"/>
                  </a:rPr>
                  <a:t>But MaxSAT returns cost of 1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AT" b="0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1</m:t>
                            </m:r>
                          </m:sub>
                        </m:sSub>
                        <m:r>
                          <a:rPr lang="de-AT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∨</m:t>
                        </m:r>
                        <m:sSub>
                          <m:sSubPr>
                            <m:ctrlP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2</m:t>
                            </m:r>
                          </m:sub>
                        </m:sSub>
                      </m:e>
                    </m:d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∧</m:t>
                    </m:r>
                    <m:d>
                      <m:dPr>
                        <m:ctrlPr>
                          <a:rPr lang="de-AT" b="0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acc>
                          <m:accPr>
                            <m:chr m:val="̅"/>
                            <m:ctrlPr>
                              <a:rPr lang="de-AT" b="0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accPr>
                          <m:e>
                            <m:sSub>
                              <m:sSubPr>
                                <m:ctrlP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</m:ctrlPr>
                              </m:sSubPr>
                              <m:e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1</m:t>
                                </m:r>
                              </m:sub>
                            </m:sSub>
                          </m:e>
                        </m:acc>
                        <m:r>
                          <a:rPr lang="de-AT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 </m:t>
                        </m:r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∨</m:t>
                        </m:r>
                        <m:acc>
                          <m:accPr>
                            <m:chr m:val="̅"/>
                            <m:ctrlPr>
                              <a:rPr lang="de-AT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accPr>
                          <m:e>
                            <m:sSub>
                              <m:sSubPr>
                                <m:ctrlP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</m:ctrlPr>
                              </m:sSubPr>
                              <m:e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2</m:t>
                                </m:r>
                              </m:sub>
                            </m:sSub>
                          </m:e>
                        </m:acc>
                      </m:e>
                    </m:d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∧</m:t>
                    </m:r>
                    <m:d>
                      <m:dPr>
                        <m:ctrlPr>
                          <a:rPr lang="de-AT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1</m:t>
                            </m:r>
                          </m:sub>
                        </m:sSub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∨</m:t>
                        </m:r>
                        <m:acc>
                          <m:accPr>
                            <m:chr m:val="̅"/>
                            <m:ctrlPr>
                              <a:rPr lang="de-AT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accPr>
                          <m:e>
                            <m:sSub>
                              <m:sSubPr>
                                <m:ctrlP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</m:ctrlPr>
                              </m:sSubPr>
                              <m:e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2</m:t>
                                </m:r>
                              </m:sub>
                            </m:sSub>
                          </m:e>
                        </m:acc>
                      </m:e>
                    </m:d>
                    <m:r>
                      <a:rPr lang="de-AT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∧</m:t>
                    </m:r>
                    <m:d>
                      <m:dPr>
                        <m:ctrlPr>
                          <a:rPr lang="de-AT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acc>
                          <m:accPr>
                            <m:chr m:val="̅"/>
                            <m:ctrlPr>
                              <a:rPr lang="de-AT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accPr>
                          <m:e>
                            <m:sSub>
                              <m:sSubPr>
                                <m:ctrlPr>
                                  <a:rPr lang="de-AT" i="1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</m:ctrlPr>
                              </m:sSubPr>
                              <m:e>
                                <m:r>
                                  <a:rPr lang="de-AT" i="1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1</m:t>
                                </m:r>
                              </m:sub>
                            </m:sSub>
                          </m:e>
                        </m:acc>
                        <m:r>
                          <a:rPr lang="de-AT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∨</m:t>
                        </m:r>
                        <m:sSub>
                          <m:sSubPr>
                            <m:ctrlP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AT" dirty="0">
                  <a:ea typeface="Cambria Math" panose="02040503050406030204" pitchFamily="18" charset="0"/>
                  <a:sym typeface="Wingdings" panose="05000000000000000000" pitchFamily="2" charset="2"/>
                </a:endParaRPr>
              </a:p>
              <a:p>
                <a:pPr>
                  <a:buFont typeface="Wingdings" panose="05000000000000000000" pitchFamily="2" charset="2"/>
                  <a:buChar char="§"/>
                </a:pPr>
                <a:r>
                  <a:rPr lang="en-US" dirty="0">
                    <a:sym typeface="Wingdings" panose="05000000000000000000" pitchFamily="2" charset="2"/>
                  </a:rPr>
                  <a:t>How to find this number?</a:t>
                </a:r>
              </a:p>
              <a:p>
                <a:pPr lvl="1">
                  <a:buFont typeface="Wingdings" panose="05000000000000000000" pitchFamily="2" charset="2"/>
                  <a:buChar char="§"/>
                </a:pPr>
                <a:r>
                  <a:rPr lang="en-US" dirty="0">
                    <a:sym typeface="Wingdings" panose="05000000000000000000" pitchFamily="2" charset="2"/>
                  </a:rPr>
                  <a:t>Use cardinality constraints. E.g.: only satisfy 1, 2 or 3 of the 4 clauses</a:t>
                </a:r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88709C57-AC09-40BA-9D28-F42F0B8ED5E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  <p:custDataLst>
                  <p:tags r:id="rId8"/>
                </p:custDataLst>
              </p:nvPr>
            </p:nvSpPr>
            <p:spPr>
              <a:blipFill>
                <a:blip r:embed="rId9"/>
                <a:stretch>
                  <a:fillRect l="-1576" t="-2774"/>
                </a:stretch>
              </a:blipFill>
            </p:spPr>
            <p:txBody>
              <a:bodyPr/>
              <a:lstStyle/>
              <a:p>
                <a:r>
                  <a:rPr lang="de-A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5B5E3B5-0A20-4EDB-A31D-B61335E87A99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210430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AT"/>
              <a:t>Folienlayout „Titel und Inhalt“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709C57-AC09-40BA-9D28-F42F0B8ED5E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/>
          <a:p>
            <a:pPr marL="0" indent="0">
              <a:buNone/>
            </a:pPr>
            <a:r>
              <a:rPr lang="de-AT" dirty="0"/>
              <a:t>Platzhalter kann mit verschiedenen Inhalten gefüllt werden. 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Thema </a:t>
            </a:r>
            <a:br>
              <a:rPr lang="de-AT" b="1" dirty="0">
                <a:solidFill>
                  <a:schemeClr val="accent1"/>
                </a:solidFill>
              </a:rPr>
            </a:b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manuell fett</a:t>
            </a:r>
          </a:p>
          <a:p>
            <a:pPr lvl="1"/>
            <a:r>
              <a:rPr lang="de-AT" dirty="0"/>
              <a:t>Und noch eine Zeile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ier wieder ein Hauptthema</a:t>
            </a:r>
          </a:p>
          <a:p>
            <a:pPr marL="0" lvl="1" indent="0">
              <a:buNone/>
            </a:pPr>
            <a:r>
              <a:rPr lang="de-AT" b="1" dirty="0"/>
              <a:t>Und hier nochmals ein </a:t>
            </a:r>
            <a:r>
              <a:rPr lang="de-AT" b="1" dirty="0" err="1"/>
              <a:t>Subthema</a:t>
            </a:r>
            <a:endParaRPr lang="de-AT" b="1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910A88D-9C38-4ADF-958E-CA147CA44CBC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>
          <a:xfrm>
            <a:off x="1308100" y="5795963"/>
            <a:ext cx="9288463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789E24-6073-43C9-81F1-FAE44844A870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467E445-FE45-4034-8EA9-943122F9A277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541947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0CDC66-22D5-4FB3-ACFA-E5ED3910232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AT"/>
              <a:t>Folienlayout Fließtext 2-spaltig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EA4E20-E0AD-4B0A-A1A4-81AFA7C9B781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endParaRPr lang="de-AT" dirty="0"/>
          </a:p>
          <a:p>
            <a:r>
              <a:rPr lang="de-AT" dirty="0"/>
              <a:t>Es ist ein paradiesisches Land, in dem einem gebratene Satzteile in den Mund fliegen. </a:t>
            </a:r>
          </a:p>
          <a:p>
            <a:r>
              <a:rPr lang="de-AT" dirty="0"/>
              <a:t>Nicht einmal von der </a:t>
            </a:r>
            <a:r>
              <a:rPr lang="de-AT" dirty="0" err="1"/>
              <a:t>allmäch-tigen</a:t>
            </a:r>
            <a:r>
              <a:rPr lang="de-AT" dirty="0"/>
              <a:t> Interpunktion werden die Mustertexte beherrscht – ein geradezu unorthographisches Leben.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2A3179C-95C1-40EF-9D63-73DF5C82DACC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>
          <a:xfrm>
            <a:off x="1308100" y="5795963"/>
            <a:ext cx="9288463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2C6F73-AA35-45DC-B363-321E816D76B8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9A03C1C-7652-4A29-A0D2-93E5A59128C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976666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660B2B-355C-4A8C-B12E-9E131BFCA25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AT" dirty="0"/>
              <a:t>Folienlayout </a:t>
            </a:r>
            <a:br>
              <a:rPr lang="de-AT" dirty="0"/>
            </a:br>
            <a:r>
              <a:rPr lang="de-AT" dirty="0"/>
              <a:t>„Bild groß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9DAE12-9757-4336-A681-3BD1E8158B7C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</p:txBody>
      </p:sp>
      <p:pic>
        <p:nvPicPr>
          <p:cNvPr id="8" name="Bildplatzhalter 7" descr="Musterbild">
            <a:extLst>
              <a:ext uri="{FF2B5EF4-FFF2-40B4-BE49-F238E27FC236}">
                <a16:creationId xmlns:a16="http://schemas.microsoft.com/office/drawing/2014/main" id="{0E67DF5E-0605-499E-B9F6-8E653DF56A05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3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17" r="2317"/>
          <a:stretch/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8DD1E0-FC75-44D5-A685-15276050B3F9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724525"/>
            <a:ext cx="5292724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470E476-3F5B-44CA-961A-C2D30C2470D7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A9754A9-AB9D-48AD-A27D-0E294DDE68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731916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1D41DA-FED0-4223-98E0-D80C7864AC3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AT" dirty="0"/>
              <a:t>Folienlayout „Bild Querformat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60C585-AA06-45B0-809E-6929B6CC6AF3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2620963"/>
            <a:ext cx="4464050" cy="3275012"/>
          </a:xfrm>
        </p:spPr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</p:txBody>
      </p:sp>
      <p:pic>
        <p:nvPicPr>
          <p:cNvPr id="7" name="Bildplatzhalter 7" descr="Musterbild">
            <a:extLst>
              <a:ext uri="{FF2B5EF4-FFF2-40B4-BE49-F238E27FC236}">
                <a16:creationId xmlns:a16="http://schemas.microsoft.com/office/drawing/2014/main" id="{139B5F4F-FF38-4A61-AFF1-FC37313E12CD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3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" b="35"/>
          <a:stretch/>
        </p:blipFill>
        <p:spPr>
          <a:xfrm>
            <a:off x="6419850" y="1549400"/>
            <a:ext cx="5292725" cy="3527425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0044DE-A15B-40E7-A4A5-5E93913A9839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076825"/>
            <a:ext cx="5292725" cy="19440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773175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65D97F-58D8-484B-8803-360ADDD0E95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9" y="1549399"/>
            <a:ext cx="10405506" cy="828675"/>
          </a:xfrm>
        </p:spPr>
        <p:txBody>
          <a:bodyPr/>
          <a:lstStyle/>
          <a:p>
            <a:r>
              <a:rPr lang="de-AT" dirty="0"/>
              <a:t>Folienlayout „Tabelle“</a:t>
            </a:r>
          </a:p>
        </p:txBody>
      </p:sp>
      <p:graphicFrame>
        <p:nvGraphicFramePr>
          <p:cNvPr id="7" name="Tabellenplatzhalter 6" descr="Mustertabelle">
            <a:extLst>
              <a:ext uri="{FF2B5EF4-FFF2-40B4-BE49-F238E27FC236}">
                <a16:creationId xmlns:a16="http://schemas.microsoft.com/office/drawing/2014/main" id="{B30E6C08-C75D-412A-BD17-93935791DF95}"/>
              </a:ext>
            </a:extLst>
          </p:cNvPr>
          <p:cNvGraphicFramePr>
            <a:graphicFrameLocks noGrp="1"/>
          </p:cNvGraphicFramePr>
          <p:nvPr>
            <p:ph type="tbl" sz="quarter" idx="11"/>
            <p:custDataLst>
              <p:tags r:id="rId2"/>
            </p:custDataLst>
          </p:nvPr>
        </p:nvGraphicFramePr>
        <p:xfrm>
          <a:off x="1306513" y="2620963"/>
          <a:ext cx="10406062" cy="2857500"/>
        </p:xfrm>
        <a:graphic>
          <a:graphicData uri="http://schemas.openxmlformats.org/drawingml/2006/table">
            <a:tbl>
              <a:tblPr firstRow="1" firstCol="1" lastRow="1" lastCol="1" bandRow="1">
                <a:tableStyleId>{3C2FFA5D-87B4-456A-9821-1D502468CF0F}</a:tableStyleId>
              </a:tblPr>
              <a:tblGrid>
                <a:gridCol w="2203292">
                  <a:extLst>
                    <a:ext uri="{9D8B030D-6E8A-4147-A177-3AD203B41FA5}">
                      <a16:colId xmlns:a16="http://schemas.microsoft.com/office/drawing/2014/main" val="1213073733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1308208642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3484575958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2895171601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783669260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2381303182"/>
                    </a:ext>
                  </a:extLst>
                </a:gridCol>
              </a:tblGrid>
              <a:tr h="387762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Betrag in Mio. EUR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2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3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4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5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6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652762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1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5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1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3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4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2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645119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2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2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3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1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0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9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77379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3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.2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3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.6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1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5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372682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4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0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0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0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4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7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0384953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5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9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8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6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2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6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702365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Ergebnis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9.6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8.2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4.8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37.3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8.4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6210524"/>
                  </a:ext>
                </a:extLst>
              </a:tr>
            </a:tbl>
          </a:graphicData>
        </a:graphic>
      </p:graphicFrame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306D8AE-4B7C-4649-A5ED-802F1744A73E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3"/>
            </p:custDataLst>
          </p:nvPr>
        </p:nvSpPr>
        <p:spPr>
          <a:xfrm>
            <a:off x="1307070" y="5734917"/>
            <a:ext cx="10405506" cy="16362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050BC74-4FE2-498F-B8F4-D608F8CA787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42C00-6285-4D8A-9996-95B8986DDC9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018543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007A84-7BEB-4D6D-BC5B-9B760487E9D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AT" dirty="0"/>
              <a:t>Folienlayout „Diagramm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8B1D5E-1E77-4FD0-ABAB-4E9ECD3CCB64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2620963"/>
            <a:ext cx="4464050" cy="3275012"/>
          </a:xfrm>
        </p:spPr>
        <p:txBody>
          <a:bodyPr/>
          <a:lstStyle/>
          <a:p>
            <a:pPr marL="0" indent="0">
              <a:buNone/>
            </a:pPr>
            <a:r>
              <a:rPr lang="de-AT" b="1" dirty="0"/>
              <a:t>Hinweis zur Diagrammgestaltung</a:t>
            </a:r>
          </a:p>
          <a:p>
            <a:pPr marL="0" indent="0">
              <a:buNone/>
            </a:pPr>
            <a:r>
              <a:rPr lang="de-AT" dirty="0"/>
              <a:t>Im Sinne einer barrierefreien Ge-</a:t>
            </a:r>
            <a:r>
              <a:rPr lang="de-AT" dirty="0" err="1"/>
              <a:t>staltung</a:t>
            </a:r>
            <a:r>
              <a:rPr lang="de-AT" dirty="0"/>
              <a:t> sollten Farben so gut wie möglich unterscheidbar sein. Andernfalls bitte entsprechend </a:t>
            </a:r>
            <a:br>
              <a:rPr lang="de-AT" dirty="0"/>
            </a:br>
            <a:r>
              <a:rPr lang="de-AT" dirty="0"/>
              <a:t>über </a:t>
            </a:r>
            <a:r>
              <a:rPr lang="de-AT" b="1" dirty="0"/>
              <a:t>Beschreibungen oder Alternativtext </a:t>
            </a:r>
            <a:r>
              <a:rPr lang="de-AT" dirty="0"/>
              <a:t>Informationen abrufbar machen (weitere Details zur Diagrammgestaltung siehe </a:t>
            </a:r>
            <a:r>
              <a:rPr lang="de-AT" i="1" dirty="0" err="1"/>
              <a:t>TUW_Arbeitsmappe_Muster</a:t>
            </a:r>
            <a:r>
              <a:rPr lang="de-AT" dirty="0"/>
              <a:t>).</a:t>
            </a:r>
          </a:p>
          <a:p>
            <a:pPr lvl="2"/>
            <a:endParaRPr lang="de-AT" dirty="0"/>
          </a:p>
        </p:txBody>
      </p:sp>
      <p:graphicFrame>
        <p:nvGraphicFramePr>
          <p:cNvPr id="14" name="Diagrammplatzhalter 9" descr="Kreisdiagramm mit folgenden Werten:&#10;Kategorie 1: 31 %&#10;Kategorie 2: 27 %&#10;Kategorie 3: 8 %&#10;Kategorie 4: 34 %">
            <a:extLst>
              <a:ext uri="{FF2B5EF4-FFF2-40B4-BE49-F238E27FC236}">
                <a16:creationId xmlns:a16="http://schemas.microsoft.com/office/drawing/2014/main" id="{798446A9-9FAB-4F7A-AE1D-8CA2E1269707}"/>
              </a:ext>
            </a:extLst>
          </p:cNvPr>
          <p:cNvGraphicFramePr>
            <a:graphicFrameLocks noGrp="1"/>
          </p:cNvGraphicFramePr>
          <p:nvPr>
            <p:ph type="chart" sz="quarter" idx="14"/>
            <p:custDataLst>
              <p:tags r:id="rId3"/>
            </p:custDataLst>
          </p:nvPr>
        </p:nvGraphicFramePr>
        <p:xfrm>
          <a:off x="6419850" y="1209675"/>
          <a:ext cx="5292725" cy="451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B5CCE06-4633-4A70-9638-DBE45E294C3B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724525"/>
            <a:ext cx="5292725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5E3D761-2495-4099-A5FA-4753DDDE2A76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283FF0-9954-4C4F-BC0D-0B6B695C245B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6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443000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DBD9D1-A5B0-4910-92BF-0BC43A87D23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de-AT" dirty="0"/>
              <a:t>Folienlayout „Abschnittsüberschrift“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2356BE-44F7-4A00-9CB9-E3B890128075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/>
          <a:p>
            <a:r>
              <a:rPr lang="de-AT" dirty="0"/>
              <a:t>Platz für Untertit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CA92D6-745C-4450-A11E-33DC15752450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B6B2AE-8EC1-4C50-9BF1-F7A813F64D7A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667511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A678691-4435-44B8-8660-2C1854F0C7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/>
          <a:p>
            <a:r>
              <a:rPr lang="de-AT" dirty="0"/>
              <a:t>Folienlayout für Mediaclip</a:t>
            </a:r>
          </a:p>
        </p:txBody>
      </p:sp>
      <p:sp>
        <p:nvSpPr>
          <p:cNvPr id="9" name="Medienplatzhalter 8" descr="Medienplatzhalter&#10;">
            <a:extLst>
              <a:ext uri="{FF2B5EF4-FFF2-40B4-BE49-F238E27FC236}">
                <a16:creationId xmlns:a16="http://schemas.microsoft.com/office/drawing/2014/main" id="{B9405F0A-7554-4CE7-9D83-C95DB1F8F633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A9AB7C3-CA05-4B40-A06C-F46A259D030F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423025" y="6113198"/>
            <a:ext cx="4870450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1CCE74E-F4B4-4C32-801F-924502EF4A6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6B0903F-D204-4F0F-BA6C-781D7995B70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692611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1B6123-29B2-47AB-88F0-55B207782F5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/>
          <a:lstStyle/>
          <a:p>
            <a:r>
              <a:rPr lang="de-AT" dirty="0"/>
              <a:t>Musterzitat</a:t>
            </a:r>
            <a:br>
              <a:rPr lang="de-AT" dirty="0"/>
            </a:br>
            <a:r>
              <a:rPr lang="de-AT" dirty="0"/>
              <a:t>Lorem </a:t>
            </a:r>
            <a:r>
              <a:rPr lang="de-AT" dirty="0" err="1"/>
              <a:t>ipsum</a:t>
            </a:r>
            <a:r>
              <a:rPr lang="de-AT" dirty="0"/>
              <a:t> </a:t>
            </a:r>
            <a:r>
              <a:rPr lang="de-AT" dirty="0" err="1"/>
              <a:t>dolor</a:t>
            </a:r>
            <a:r>
              <a:rPr lang="de-AT" dirty="0"/>
              <a:t> </a:t>
            </a:r>
            <a:r>
              <a:rPr lang="de-AT" dirty="0" err="1"/>
              <a:t>sit</a:t>
            </a:r>
            <a:r>
              <a:rPr lang="de-AT" dirty="0"/>
              <a:t> </a:t>
            </a:r>
            <a:r>
              <a:rPr lang="de-AT" dirty="0" err="1"/>
              <a:t>amet</a:t>
            </a:r>
            <a:r>
              <a:rPr lang="de-AT" dirty="0"/>
              <a:t>, </a:t>
            </a:r>
            <a:r>
              <a:rPr lang="de-AT" dirty="0" err="1"/>
              <a:t>consectetuer</a:t>
            </a:r>
            <a:r>
              <a:rPr lang="de-AT" dirty="0"/>
              <a:t> </a:t>
            </a:r>
            <a:r>
              <a:rPr lang="de-AT" dirty="0" err="1"/>
              <a:t>adipiscing</a:t>
            </a:r>
            <a:r>
              <a:rPr lang="de-AT" dirty="0"/>
              <a:t> </a:t>
            </a:r>
            <a:r>
              <a:rPr lang="de-AT" dirty="0" err="1"/>
              <a:t>elit</a:t>
            </a:r>
            <a:r>
              <a:rPr lang="de-AT" dirty="0"/>
              <a:t>. Maecenas </a:t>
            </a:r>
            <a:r>
              <a:rPr lang="de-AT" dirty="0" err="1"/>
              <a:t>porttitor</a:t>
            </a:r>
            <a:r>
              <a:rPr lang="de-AT" dirty="0"/>
              <a:t> </a:t>
            </a:r>
            <a:r>
              <a:rPr lang="de-AT" dirty="0" err="1"/>
              <a:t>congue</a:t>
            </a:r>
            <a:r>
              <a:rPr lang="de-AT" dirty="0"/>
              <a:t> </a:t>
            </a:r>
            <a:r>
              <a:rPr lang="de-AT" dirty="0" err="1"/>
              <a:t>massa</a:t>
            </a:r>
            <a:r>
              <a:rPr lang="de-AT" dirty="0"/>
              <a:t>.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B31A55-E7A7-4A47-B171-8A63985487E4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2"/>
            </p:custDataLst>
          </p:nvPr>
        </p:nvSpPr>
        <p:spPr>
          <a:xfrm>
            <a:off x="6232525" y="4503737"/>
            <a:ext cx="4652963" cy="573088"/>
          </a:xfrm>
        </p:spPr>
        <p:txBody>
          <a:bodyPr/>
          <a:lstStyle/>
          <a:p>
            <a:r>
              <a:rPr lang="de-AT" dirty="0"/>
              <a:t>Lorem Ipsu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DE9C8F-A6DA-4626-9AB2-F0B3C2094195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F1B663-2F62-4EB5-A7BE-A7EA8849095D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037640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11" descr="Musterbild&#10;">
            <a:extLst>
              <a:ext uri="{FF2B5EF4-FFF2-40B4-BE49-F238E27FC236}">
                <a16:creationId xmlns:a16="http://schemas.microsoft.com/office/drawing/2014/main" id="{66AF2688-D97B-4AF0-BE10-455C3C25CF1A}"/>
              </a:ext>
            </a:extLst>
          </p:cNvPr>
          <p:cNvPicPr>
            <a:picLocks noGrp="1" noChangeAspect="1"/>
          </p:cNvPicPr>
          <p:nvPr>
            <p:ph type="pic" sz="quarter" idx="16"/>
            <p:custDataLst>
              <p:tags r:id="rId1"/>
            </p:custDataLst>
          </p:nvPr>
        </p:nvPicPr>
        <p:blipFill rotWithShape="1">
          <a:blip r:embed="rId8"/>
          <a:srcRect t="23745" b="23745"/>
          <a:stretch/>
        </p:blipFill>
        <p:spPr>
          <a:xfrm>
            <a:off x="0" y="0"/>
            <a:ext cx="12192000" cy="6063380"/>
          </a:xfr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BA678691-4435-44B8-8660-2C1854F0C73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/>
          <a:p>
            <a:r>
              <a:rPr lang="de-AT" dirty="0"/>
              <a:t>Folienlayout für großes Bild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A0BF16B-8789-4309-A844-8ACCADAEC357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7246938" y="6049963"/>
            <a:ext cx="4465637" cy="171450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1CCE74E-F4B4-4C32-801F-924502EF4A6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6B0903F-D204-4F0F-BA6C-781D7995B70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668916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Search Algorithm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709C57-AC09-40BA-9D28-F42F0B8ED5E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308100" y="1297113"/>
            <a:ext cx="9288463" cy="4175125"/>
          </a:xfrm>
        </p:spPr>
        <p:txBody>
          <a:bodyPr/>
          <a:lstStyle/>
          <a:p>
            <a:r>
              <a:rPr lang="en-US" dirty="0"/>
              <a:t>Linear search UNSAT to SAT</a:t>
            </a:r>
          </a:p>
          <a:p>
            <a:pPr marL="719137" lvl="1" indent="-457200">
              <a:buFont typeface="+mj-lt"/>
              <a:buAutoNum type="arabicPeriod"/>
            </a:pPr>
            <a:r>
              <a:rPr lang="en-US" dirty="0">
                <a:sym typeface="Wingdings" panose="05000000000000000000" pitchFamily="2" charset="2"/>
              </a:rPr>
              <a:t>Try to satisfy all clauses</a:t>
            </a:r>
          </a:p>
          <a:p>
            <a:pPr marL="719137" lvl="1" indent="-457200">
              <a:buFont typeface="+mj-lt"/>
              <a:buAutoNum type="arabicPeriod"/>
            </a:pPr>
            <a:r>
              <a:rPr lang="en-US" dirty="0">
                <a:sym typeface="Wingdings" panose="05000000000000000000" pitchFamily="2" charset="2"/>
              </a:rPr>
              <a:t>Try to satisfy all but one clause</a:t>
            </a:r>
          </a:p>
          <a:p>
            <a:pPr marL="719137" lvl="1" indent="-457200">
              <a:buFont typeface="+mj-lt"/>
              <a:buAutoNum type="arabicPeriod"/>
            </a:pPr>
            <a:r>
              <a:rPr lang="en-US" dirty="0">
                <a:sym typeface="Wingdings" panose="05000000000000000000" pitchFamily="2" charset="2"/>
              </a:rPr>
              <a:t>…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   Repeat until the formula is SAT.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   Number of unsatisfied clauses is equal to cost</a:t>
            </a:r>
          </a:p>
          <a:p>
            <a:r>
              <a:rPr lang="en-US" dirty="0"/>
              <a:t>Linear search SAT to UNSAT</a:t>
            </a:r>
          </a:p>
          <a:p>
            <a:pPr marL="719137" lvl="1" indent="-457200">
              <a:buFont typeface="+mj-lt"/>
              <a:buAutoNum type="arabicPeriod"/>
            </a:pPr>
            <a:r>
              <a:rPr lang="en-US" dirty="0">
                <a:sym typeface="Wingdings" panose="05000000000000000000" pitchFamily="2" charset="2"/>
              </a:rPr>
              <a:t>Try to satisfy one clause</a:t>
            </a:r>
          </a:p>
          <a:p>
            <a:pPr marL="719137" lvl="1" indent="-457200">
              <a:buFont typeface="+mj-lt"/>
              <a:buAutoNum type="arabicPeriod"/>
            </a:pPr>
            <a:r>
              <a:rPr lang="en-US" dirty="0">
                <a:sym typeface="Wingdings" panose="05000000000000000000" pitchFamily="2" charset="2"/>
              </a:rPr>
              <a:t>Try to satisfy two clauses</a:t>
            </a:r>
          </a:p>
          <a:p>
            <a:pPr marL="719137" lvl="1" indent="-457200">
              <a:buFont typeface="+mj-lt"/>
              <a:buAutoNum type="arabicPeriod"/>
            </a:pPr>
            <a:r>
              <a:rPr lang="en-US" dirty="0">
                <a:sym typeface="Wingdings" panose="05000000000000000000" pitchFamily="2" charset="2"/>
              </a:rPr>
              <a:t>…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   Repeat until the formula is UNSAT.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   Number of unsatisfied clauses is equal to cost</a:t>
            </a:r>
          </a:p>
          <a:p>
            <a:r>
              <a:rPr lang="en-US" dirty="0"/>
              <a:t>Binary search</a:t>
            </a:r>
          </a:p>
          <a:p>
            <a:pPr lvl="1"/>
            <a:r>
              <a:rPr lang="de-AT" dirty="0"/>
              <a:t>Use </a:t>
            </a:r>
            <a:r>
              <a:rPr lang="en-US" dirty="0"/>
              <a:t>binary search to find number of clauses that can be satisfied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577219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nhaltsplatzhalter 16" descr="Schematische Darstellung Sublogo">
            <a:extLst>
              <a:ext uri="{FF2B5EF4-FFF2-40B4-BE49-F238E27FC236}">
                <a16:creationId xmlns:a16="http://schemas.microsoft.com/office/drawing/2014/main" id="{354A31B6-A239-47BA-84ED-E4EF9306665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sz="quarter" idx="17"/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63" y="468313"/>
            <a:ext cx="2266363" cy="738187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FA8822E-F3B0-47B2-AED4-289224A1979D}"/>
              </a:ext>
            </a:extLst>
          </p:cNvPr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/>
          <a:lstStyle/>
          <a:p>
            <a:r>
              <a:rPr lang="de-AT" dirty="0"/>
              <a:t>Folienlayout „Titelfolie </a:t>
            </a:r>
            <a:br>
              <a:rPr lang="de-AT" dirty="0"/>
            </a:br>
            <a:r>
              <a:rPr lang="de-AT" dirty="0"/>
              <a:t>mit Sublogo“ (Beispiel)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6046A7F9-5520-464A-871C-61AF609B1C5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5" name="Sprechblase: rechteckig mit abgerundeten Ecken 4" descr="Hinweis">
            <a:extLst>
              <a:ext uri="{FF2B5EF4-FFF2-40B4-BE49-F238E27FC236}">
                <a16:creationId xmlns:a16="http://schemas.microsoft.com/office/drawing/2014/main" id="{4EA6D9DE-CC68-4FBE-B2CD-A38307E542F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71900" y="466725"/>
            <a:ext cx="3543300" cy="1301750"/>
          </a:xfrm>
          <a:prstGeom prst="wedgeRoundRectCallout">
            <a:avLst>
              <a:gd name="adj1" fmla="val -72851"/>
              <a:gd name="adj2" fmla="val -28996"/>
              <a:gd name="adj3" fmla="val 16667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sz="1200" dirty="0"/>
              <a:t>Hinweis: Das Sublogo sollte die dargestellten Dimensionen haben. Falls das Logo kleiner ist (weil Weißraum rund um das Logo ist), schneiden Sie das Bild bitte entsprechend zu (siehe Hinweise in Anleitungsdatei)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570E97E-0DB7-41A9-B111-3F5D1158A9C4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/>
        <p:txBody>
          <a:bodyPr/>
          <a:lstStyle/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22881501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8" descr="Schematische Darstellung Sublogo">
            <a:extLst>
              <a:ext uri="{FF2B5EF4-FFF2-40B4-BE49-F238E27FC236}">
                <a16:creationId xmlns:a16="http://schemas.microsoft.com/office/drawing/2014/main" id="{CC38F8F0-2B45-4FE6-A209-D0F091D2CCE3}"/>
              </a:ext>
            </a:extLst>
          </p:cNvPr>
          <p:cNvPicPr>
            <a:picLocks noGrp="1" noChangeAspect="1"/>
          </p:cNvPicPr>
          <p:nvPr>
            <p:ph sz="quarter" idx="17"/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63" y="468313"/>
            <a:ext cx="2266363" cy="738187"/>
          </a:xfr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6A31DA15-FC12-412D-9521-0FBF901CBCF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/>
          <a:p>
            <a:r>
              <a:rPr lang="de-AT" dirty="0"/>
              <a:t>Folienlayout „Titelfolie mit Bild und </a:t>
            </a:r>
            <a:r>
              <a:rPr lang="de-AT" dirty="0" err="1"/>
              <a:t>Sublogo</a:t>
            </a:r>
            <a:r>
              <a:rPr lang="de-AT" dirty="0"/>
              <a:t>“ (Beispiel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1F3E631-9C8D-4BE6-B3C2-66B1EFC94254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3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020D9D-D385-44E4-B5C0-CF92441ECD74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247493" y="6050376"/>
            <a:ext cx="4465082" cy="171450"/>
          </a:xfrm>
        </p:spPr>
        <p:txBody>
          <a:bodyPr/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37714D0-9782-4AF0-8105-8C4EA157EA85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/>
        <p:txBody>
          <a:bodyPr/>
          <a:lstStyle/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141681543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16" descr="Schematische Darstellung Sublogo">
            <a:extLst>
              <a:ext uri="{FF2B5EF4-FFF2-40B4-BE49-F238E27FC236}">
                <a16:creationId xmlns:a16="http://schemas.microsoft.com/office/drawing/2014/main" id="{4BC3E1DE-C97D-48ED-9D06-062688536B1F}"/>
              </a:ext>
            </a:extLst>
          </p:cNvPr>
          <p:cNvPicPr>
            <a:picLocks noGrp="1" noChangeAspect="1"/>
          </p:cNvPicPr>
          <p:nvPr>
            <p:ph sz="quarter" idx="17"/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055" y="468437"/>
            <a:ext cx="2280986" cy="742950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BEA24AD2-91A9-445A-A7B9-68F7675CC9B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10405506" cy="828675"/>
          </a:xfrm>
        </p:spPr>
        <p:txBody>
          <a:bodyPr/>
          <a:lstStyle/>
          <a:p>
            <a:r>
              <a:rPr lang="de-AT" dirty="0"/>
              <a:t>Folienlayout „Abschnittsüberschrift mit Sublogo“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B176F74B-ED03-487A-A3EA-E3606282DFAC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AT" dirty="0"/>
              <a:t>(Beispiel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8D8854-0516-479F-A737-F16B3A0C160D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035E0-81DA-4800-8223-F21FDA0974AF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5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2593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AT" dirty="0"/>
              <a:t>Folienlayout „Logo klein – Titel und Inhalt“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709C57-AC09-40BA-9D28-F42F0B8ED5E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dirty="0"/>
              <a:t>Platzhalter kann mit verschiedenen Inhalten gefüllt werden. 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Thema Ebene 1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r>
              <a:rPr lang="de-AT" b="1" dirty="0"/>
              <a:t> Ebene 2</a:t>
            </a:r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muss manuell fett gemacht werden</a:t>
            </a:r>
          </a:p>
          <a:p>
            <a:pPr lvl="1"/>
            <a:r>
              <a:rPr lang="de-AT" dirty="0"/>
              <a:t>Und noch eine Zeile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ier wieder Ebene 1</a:t>
            </a:r>
          </a:p>
          <a:p>
            <a:pPr marL="0" indent="-1463">
              <a:buNone/>
            </a:pPr>
            <a:r>
              <a:rPr lang="de-AT" b="1" dirty="0"/>
              <a:t>Und hier nochmals Ebene 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5B5E3B5-0A20-4EDB-A31D-B61335E87A99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260364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AT" dirty="0"/>
              <a:t>Folienlayout „Logo klein – 2 Inhalte“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lvl="1"/>
            <a:r>
              <a:rPr lang="de-AT" dirty="0"/>
              <a:t>Und noch eine Zeile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ier wieder ein Hauptthema</a:t>
            </a:r>
          </a:p>
          <a:p>
            <a:pPr marL="0" indent="-1463">
              <a:buNone/>
            </a:pPr>
            <a:r>
              <a:rPr lang="de-AT" b="1" dirty="0"/>
              <a:t>Und hier nochmals Ebene 2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B404C80-135F-48E8-ABD1-0D51D03F8E94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lvl="1"/>
            <a:r>
              <a:rPr lang="de-AT" dirty="0"/>
              <a:t>Und noch eine Zeile</a:t>
            </a:r>
          </a:p>
          <a:p>
            <a:pPr marL="0" indent="0">
              <a:buNone/>
            </a:pPr>
            <a:endParaRPr lang="de-AT" b="1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8602C66-6A46-4095-A282-7F1F6E05ED0E}"/>
              </a:ext>
            </a:extLst>
          </p:cNvPr>
          <p:cNvSpPr>
            <a:spLocks noGrp="1"/>
          </p:cNvSpPr>
          <p:nvPr>
            <p:ph type="body" sz="quarter" idx="21"/>
            <p:custDataLst>
              <p:tags r:id="rId5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9016C6-EC04-4D84-8948-3939E595DC4C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7166FEE-B49A-4F13-B0AE-08C9253C19B5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02612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AT" dirty="0"/>
              <a:t>Folienlayout „Logo klein – 2 Inhalte … 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r>
              <a:rPr lang="de-AT" dirty="0"/>
              <a:t>Ein kleines Bächlein namens Duden fließt durch ihren Ort.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EDCB48C-6218-4689-B44A-E5F2712CE0D8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BA7E6A7-4654-435F-9732-43AA44282F79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 dirty="0"/>
              <a:t>… mit 2 Überschriften“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AT" dirty="0"/>
              <a:t>Nicht einmal von der </a:t>
            </a:r>
            <a:r>
              <a:rPr lang="de-AT" dirty="0" err="1"/>
              <a:t>allmäch-tigen</a:t>
            </a:r>
            <a:r>
              <a:rPr lang="de-AT" dirty="0"/>
              <a:t> Interpunktion werden die Mustertexte beherrscht – ein geradezu unorthographisches Leben. </a:t>
            </a:r>
          </a:p>
          <a:p>
            <a:r>
              <a:rPr lang="de-AT" dirty="0"/>
              <a:t>Eines Tages aber beschloss eine kleine Zeile Mustertext, ihr Name war Lorem Ipsum, hinaus zu gehen in die weite Grammatik. </a:t>
            </a:r>
          </a:p>
          <a:p>
            <a:r>
              <a:rPr lang="de-AT" dirty="0"/>
              <a:t>Der große Oxmox riet ihr davon ab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37B10C5-4AD8-4DDA-9F72-3E2A843ED336}"/>
              </a:ext>
            </a:extLst>
          </p:cNvPr>
          <p:cNvSpPr>
            <a:spLocks noGrp="1"/>
          </p:cNvSpPr>
          <p:nvPr>
            <p:ph type="body" sz="quarter" idx="21"/>
            <p:custDataLst>
              <p:tags r:id="rId6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89DCC7-A5A9-4B18-9280-7B39F3BADE9C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C992D0A-928F-4C75-B90F-64A5E1BE6EC7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6176180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660B2B-355C-4A8C-B12E-9E131BFCA25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468438"/>
            <a:ext cx="4464050" cy="828675"/>
          </a:xfrm>
        </p:spPr>
        <p:txBody>
          <a:bodyPr/>
          <a:lstStyle/>
          <a:p>
            <a:r>
              <a:rPr lang="de-AT" dirty="0"/>
              <a:t>Folienlayout </a:t>
            </a:r>
            <a:br>
              <a:rPr lang="de-AT" dirty="0"/>
            </a:br>
            <a:r>
              <a:rPr lang="de-AT" dirty="0"/>
              <a:t>„Logo klein – Bild groß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9DAE12-9757-4336-A681-3BD1E8158B7C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/>
          <a:p>
            <a:r>
              <a:rPr lang="de-AT" dirty="0"/>
              <a:t>Bei der Animation von Bildern sollten diese am rechten oberen Eck ausgerichtet werden. </a:t>
            </a:r>
          </a:p>
          <a:p>
            <a:r>
              <a:rPr lang="de-AT" dirty="0"/>
              <a:t>Mustertext: Weit hinten, hinter den Wort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pPr lvl="1"/>
            <a:endParaRPr lang="de-AT" dirty="0"/>
          </a:p>
          <a:p>
            <a:pPr lvl="1"/>
            <a:endParaRPr lang="de-AT" dirty="0"/>
          </a:p>
        </p:txBody>
      </p:sp>
      <p:pic>
        <p:nvPicPr>
          <p:cNvPr id="12" name="Bildplatzhalter 11" descr="Musterbild&#10;">
            <a:extLst>
              <a:ext uri="{FF2B5EF4-FFF2-40B4-BE49-F238E27FC236}">
                <a16:creationId xmlns:a16="http://schemas.microsoft.com/office/drawing/2014/main" id="{970362EC-8297-4F7F-8D0B-285512CAA67D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3"/>
            </p:custDataLst>
          </p:nvPr>
        </p:nvPicPr>
        <p:blipFill rotWithShape="1">
          <a:blip r:embed="rId9"/>
          <a:srcRect l="2335" r="2335"/>
          <a:stretch/>
        </p:blipFill>
        <p:spPr>
          <a:xfrm>
            <a:off x="6419850" y="466725"/>
            <a:ext cx="5292725" cy="5257800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8DD1E0-FC75-44D5-A685-15276050B3F9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724525"/>
            <a:ext cx="5292725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ADCC1B-4BB0-4F06-AF4E-DE26016BCD9F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EDCAF7-959A-48B7-8139-9CBFA2303CE2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3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0876554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1D41DA-FED0-4223-98E0-D80C7864AC3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468438"/>
            <a:ext cx="10404474" cy="828675"/>
          </a:xfrm>
        </p:spPr>
        <p:txBody>
          <a:bodyPr/>
          <a:lstStyle/>
          <a:p>
            <a:r>
              <a:rPr lang="de-AT" dirty="0"/>
              <a:t>Folienlayout „Logo klein – Bild Querformat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60C585-AA06-45B0-809E-6929B6CC6AF3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r>
              <a:rPr lang="de-AT" dirty="0"/>
              <a:t>Eines Tages aber beschloss eine kleine Zeile Mustertext, ihr Name war Lorem Ipsum, hinaus zu gehen in die weite Grammatik. </a:t>
            </a:r>
          </a:p>
        </p:txBody>
      </p:sp>
      <p:pic>
        <p:nvPicPr>
          <p:cNvPr id="12" name="Bildplatzhalter 11" descr="Musterbild&#10;">
            <a:extLst>
              <a:ext uri="{FF2B5EF4-FFF2-40B4-BE49-F238E27FC236}">
                <a16:creationId xmlns:a16="http://schemas.microsoft.com/office/drawing/2014/main" id="{5A62F13F-BE24-4131-AC8D-6086FBCA81D3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3"/>
            </p:custDataLst>
          </p:nvPr>
        </p:nvPicPr>
        <p:blipFill rotWithShape="1">
          <a:blip r:embed="rId9"/>
          <a:srcRect t="44" b="44"/>
          <a:stretch/>
        </p:blipFill>
        <p:spPr>
          <a:xfrm>
            <a:off x="6419850" y="1549400"/>
            <a:ext cx="5292725" cy="3527426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0044DE-A15B-40E7-A4A5-5E93913A9839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076825"/>
            <a:ext cx="5292725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555E1A0-4B43-4AB2-A328-CA32D73F1A4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24A103E-D3CE-4BA1-BBFB-9FCEE8FFAE38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3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7865468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65D97F-58D8-484B-8803-360ADDD0E95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468438"/>
            <a:ext cx="10404475" cy="828675"/>
          </a:xfrm>
        </p:spPr>
        <p:txBody>
          <a:bodyPr/>
          <a:lstStyle/>
          <a:p>
            <a:r>
              <a:rPr lang="de-AT" dirty="0"/>
              <a:t>Folienlayout „Logo klein – Tabelle“</a:t>
            </a:r>
          </a:p>
        </p:txBody>
      </p:sp>
      <p:graphicFrame>
        <p:nvGraphicFramePr>
          <p:cNvPr id="7" name="Tabellenplatzhalter 6" descr="Mustertabelle">
            <a:extLst>
              <a:ext uri="{FF2B5EF4-FFF2-40B4-BE49-F238E27FC236}">
                <a16:creationId xmlns:a16="http://schemas.microsoft.com/office/drawing/2014/main" id="{B30E6C08-C75D-412A-BD17-93935791DF95}"/>
              </a:ext>
            </a:extLst>
          </p:cNvPr>
          <p:cNvGraphicFramePr>
            <a:graphicFrameLocks noGrp="1"/>
          </p:cNvGraphicFramePr>
          <p:nvPr>
            <p:ph type="tbl" sz="quarter" idx="11"/>
            <p:custDataLst>
              <p:tags r:id="rId2"/>
            </p:custDataLst>
          </p:nvPr>
        </p:nvGraphicFramePr>
        <p:xfrm>
          <a:off x="1308100" y="1549400"/>
          <a:ext cx="10404477" cy="3688080"/>
        </p:xfrm>
        <a:graphic>
          <a:graphicData uri="http://schemas.openxmlformats.org/drawingml/2006/table">
            <a:tbl>
              <a:tblPr firstRow="1" firstCol="1" lastRow="1" lastCol="1" bandRow="1">
                <a:tableStyleId>{3C2FFA5D-87B4-456A-9821-1D502468CF0F}</a:tableStyleId>
              </a:tblPr>
              <a:tblGrid>
                <a:gridCol w="2202957">
                  <a:extLst>
                    <a:ext uri="{9D8B030D-6E8A-4147-A177-3AD203B41FA5}">
                      <a16:colId xmlns:a16="http://schemas.microsoft.com/office/drawing/2014/main" val="1213073733"/>
                    </a:ext>
                  </a:extLst>
                </a:gridCol>
                <a:gridCol w="1640304">
                  <a:extLst>
                    <a:ext uri="{9D8B030D-6E8A-4147-A177-3AD203B41FA5}">
                      <a16:colId xmlns:a16="http://schemas.microsoft.com/office/drawing/2014/main" val="1308208642"/>
                    </a:ext>
                  </a:extLst>
                </a:gridCol>
                <a:gridCol w="1640304">
                  <a:extLst>
                    <a:ext uri="{9D8B030D-6E8A-4147-A177-3AD203B41FA5}">
                      <a16:colId xmlns:a16="http://schemas.microsoft.com/office/drawing/2014/main" val="3484575958"/>
                    </a:ext>
                  </a:extLst>
                </a:gridCol>
                <a:gridCol w="1640304">
                  <a:extLst>
                    <a:ext uri="{9D8B030D-6E8A-4147-A177-3AD203B41FA5}">
                      <a16:colId xmlns:a16="http://schemas.microsoft.com/office/drawing/2014/main" val="2895171601"/>
                    </a:ext>
                  </a:extLst>
                </a:gridCol>
                <a:gridCol w="1640304">
                  <a:extLst>
                    <a:ext uri="{9D8B030D-6E8A-4147-A177-3AD203B41FA5}">
                      <a16:colId xmlns:a16="http://schemas.microsoft.com/office/drawing/2014/main" val="783669260"/>
                    </a:ext>
                  </a:extLst>
                </a:gridCol>
                <a:gridCol w="1640304">
                  <a:extLst>
                    <a:ext uri="{9D8B030D-6E8A-4147-A177-3AD203B41FA5}">
                      <a16:colId xmlns:a16="http://schemas.microsoft.com/office/drawing/2014/main" val="2381303182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Betrag in Mio. EUR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2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3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4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5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6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652762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Kategorie 1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5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1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5.3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4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2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645119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Kategorie 2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2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3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5.1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7.0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9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77379"/>
                  </a:ext>
                </a:extLst>
              </a:tr>
              <a:tr h="334351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Kategorie 3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1.2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3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.6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7.1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5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372682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Kategorie 4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5.0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0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0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4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7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0384953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Kategorie 5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9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8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6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5.2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5.6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702365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078963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006879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00935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757596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Ergebnis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9.6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8.2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4.8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37.3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8.4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6210524"/>
                  </a:ext>
                </a:extLst>
              </a:tr>
            </a:tbl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03832A-C9AD-4A1D-9DC2-B5F9B1BF8C04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3"/>
            </p:custDataLst>
          </p:nvPr>
        </p:nvSpPr>
        <p:spPr>
          <a:xfrm>
            <a:off x="1308100" y="5724525"/>
            <a:ext cx="10404475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1A8101A-98EF-440F-8829-ABBEA461B884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71E5A98-471E-4162-82F2-91D5A3CC1CB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5052340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007A84-7BEB-4D6D-BC5B-9B760487E9D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423" y="468438"/>
            <a:ext cx="4458966" cy="828675"/>
          </a:xfrm>
        </p:spPr>
        <p:txBody>
          <a:bodyPr/>
          <a:lstStyle/>
          <a:p>
            <a:r>
              <a:rPr lang="de-AT" dirty="0"/>
              <a:t>Folienlayout „Logo klein – Diagramm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8B1D5E-1E77-4FD0-ABAB-4E9ECD3CCB64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/>
          <a:p>
            <a:pPr marL="0" indent="0">
              <a:buNone/>
            </a:pPr>
            <a:r>
              <a:rPr lang="de-AT" b="1" dirty="0"/>
              <a:t>Hier ist Platz für einen Untertitel </a:t>
            </a:r>
          </a:p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r>
              <a:rPr lang="de-AT" dirty="0"/>
              <a:t>Eines Tages aber beschloss eine kleine Zeile Mustertext, ihr Name war Lorem Ipsum, …</a:t>
            </a:r>
          </a:p>
          <a:p>
            <a:pPr lvl="2"/>
            <a:endParaRPr lang="de-AT" dirty="0"/>
          </a:p>
        </p:txBody>
      </p:sp>
      <p:graphicFrame>
        <p:nvGraphicFramePr>
          <p:cNvPr id="16" name="Diagrammplatzhalter 9" descr="Kreisdiagramm - Muster mit folgenden Werten: &#10;Kategorie 1: 17%&#10;Kategorie 2: 15%&#10;Kategorie 3: 5%&#10;Kategorie 4: 19%&#10;Kategorie 5: 15%&#10;Kategorie 6: 29%">
            <a:extLst>
              <a:ext uri="{FF2B5EF4-FFF2-40B4-BE49-F238E27FC236}">
                <a16:creationId xmlns:a16="http://schemas.microsoft.com/office/drawing/2014/main" id="{47181B90-4081-41B2-A67F-2CFA9F0BD4BE}"/>
              </a:ext>
            </a:extLst>
          </p:cNvPr>
          <p:cNvGraphicFramePr>
            <a:graphicFrameLocks noGrp="1"/>
          </p:cNvGraphicFramePr>
          <p:nvPr>
            <p:ph type="chart" sz="quarter" idx="14"/>
            <p:custDataLst>
              <p:tags r:id="rId3"/>
            </p:custDataLst>
          </p:nvPr>
        </p:nvGraphicFramePr>
        <p:xfrm>
          <a:off x="6419850" y="468313"/>
          <a:ext cx="5292725" cy="5256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7D5777D-6DCA-44B9-B621-6C24BE75D7C8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724525"/>
            <a:ext cx="5292725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0DFFBF-A5E0-407E-80C1-BE1C024BC0D6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27BF3D-3A2A-4FAA-B417-EC78F3C09F64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6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3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885047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Implement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709C57-AC09-40BA-9D28-F42F0B8ED5E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Implemented all three methods</a:t>
            </a:r>
          </a:p>
          <a:p>
            <a:r>
              <a:rPr lang="en-US" dirty="0"/>
              <a:t>Used Minisat22 for checking if (modified) clause is satisfiable</a:t>
            </a:r>
          </a:p>
          <a:p>
            <a:r>
              <a:rPr lang="en-US" dirty="0"/>
              <a:t>Question how to encode cardinality constraints</a:t>
            </a:r>
          </a:p>
          <a:p>
            <a:r>
              <a:rPr lang="en-US" dirty="0"/>
              <a:t>Verification with RC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5B5E3B5-0A20-4EDB-A31D-B61335E87A99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73628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Implementation – Binary Search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8DD2D73D-513F-18C6-C6B8-EB7D97FBD0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104346" y="1183139"/>
            <a:ext cx="5694936" cy="472679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5932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Implementation – Cardinality Constraints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8DD2D73D-513F-18C6-C6B8-EB7D97FBD0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61963" y="1937491"/>
            <a:ext cx="3593997" cy="298301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6</a:t>
            </a:fld>
            <a:endParaRPr lang="de-AT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9CFC6341-4848-4859-09D4-EF24446CEECE}"/>
              </a:ext>
            </a:extLst>
          </p:cNvPr>
          <p:cNvCxnSpPr>
            <a:cxnSpLocks/>
          </p:cNvCxnSpPr>
          <p:nvPr/>
        </p:nvCxnSpPr>
        <p:spPr>
          <a:xfrm flipV="1">
            <a:off x="3256280" y="2641600"/>
            <a:ext cx="1444308" cy="10769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0B748E8-BDD8-CBD1-AC73-B2E5C74C23B0}"/>
              </a:ext>
            </a:extLst>
          </p:cNvPr>
          <p:cNvCxnSpPr>
            <a:cxnSpLocks/>
          </p:cNvCxnSpPr>
          <p:nvPr/>
        </p:nvCxnSpPr>
        <p:spPr>
          <a:xfrm>
            <a:off x="3256280" y="3835400"/>
            <a:ext cx="1444308" cy="382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01AF4AD9-49E3-60D1-DC5A-B2A3CC5F73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80553" y="2628788"/>
            <a:ext cx="7049484" cy="16004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654886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Implementation – Indicators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8DD2D73D-513F-18C6-C6B8-EB7D97FBD0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61963" y="3142177"/>
            <a:ext cx="3593997" cy="298301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7</a:t>
            </a:fld>
            <a:endParaRPr lang="de-AT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9CFC6341-4848-4859-09D4-EF24446CEECE}"/>
              </a:ext>
            </a:extLst>
          </p:cNvPr>
          <p:cNvCxnSpPr>
            <a:cxnSpLocks/>
          </p:cNvCxnSpPr>
          <p:nvPr/>
        </p:nvCxnSpPr>
        <p:spPr>
          <a:xfrm flipV="1">
            <a:off x="3256280" y="4534514"/>
            <a:ext cx="1444308" cy="38873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0B748E8-BDD8-CBD1-AC73-B2E5C74C23B0}"/>
              </a:ext>
            </a:extLst>
          </p:cNvPr>
          <p:cNvCxnSpPr>
            <a:cxnSpLocks/>
          </p:cNvCxnSpPr>
          <p:nvPr/>
        </p:nvCxnSpPr>
        <p:spPr>
          <a:xfrm>
            <a:off x="3256280" y="5040086"/>
            <a:ext cx="1444308" cy="1085109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01AF4AD9-49E3-60D1-DC5A-B2A3CC5F73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80553" y="4534514"/>
            <a:ext cx="7049484" cy="16004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83C5322E-95D6-964F-97DE-8C5FEF5CDD9D}"/>
              </a:ext>
            </a:extLst>
          </p:cNvPr>
          <p:cNvCxnSpPr>
            <a:cxnSpLocks/>
          </p:cNvCxnSpPr>
          <p:nvPr/>
        </p:nvCxnSpPr>
        <p:spPr>
          <a:xfrm>
            <a:off x="6214533" y="4110589"/>
            <a:ext cx="1276881" cy="81265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3C913D3-A82F-08EE-E69C-060949D8B6A8}"/>
              </a:ext>
            </a:extLst>
          </p:cNvPr>
          <p:cNvCxnSpPr>
            <a:cxnSpLocks/>
          </p:cNvCxnSpPr>
          <p:nvPr/>
        </p:nvCxnSpPr>
        <p:spPr>
          <a:xfrm flipH="1">
            <a:off x="10293350" y="4110589"/>
            <a:ext cx="914150" cy="74081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fik 20">
            <a:extLst>
              <a:ext uri="{FF2B5EF4-FFF2-40B4-BE49-F238E27FC236}">
                <a16:creationId xmlns:a16="http://schemas.microsoft.com/office/drawing/2014/main" id="{3A1ECC99-35ED-47E3-4AC1-F068A28161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51198" y="1201912"/>
            <a:ext cx="5056302" cy="2908677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348309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Implementation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8DD2D73D-513F-18C6-C6B8-EB7D97FBD0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61963" y="1913467"/>
            <a:ext cx="5074370" cy="421172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8</a:t>
            </a:fld>
            <a:endParaRPr lang="de-AT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9CFC6341-4848-4859-09D4-EF24446CEECE}"/>
              </a:ext>
            </a:extLst>
          </p:cNvPr>
          <p:cNvCxnSpPr>
            <a:cxnSpLocks/>
          </p:cNvCxnSpPr>
          <p:nvPr/>
        </p:nvCxnSpPr>
        <p:spPr>
          <a:xfrm>
            <a:off x="5427133" y="4428067"/>
            <a:ext cx="533400" cy="39703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0B748E8-BDD8-CBD1-AC73-B2E5C74C23B0}"/>
              </a:ext>
            </a:extLst>
          </p:cNvPr>
          <p:cNvCxnSpPr>
            <a:cxnSpLocks/>
          </p:cNvCxnSpPr>
          <p:nvPr/>
        </p:nvCxnSpPr>
        <p:spPr>
          <a:xfrm>
            <a:off x="5427133" y="4574273"/>
            <a:ext cx="533400" cy="155092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01AF4AD9-49E3-60D1-DC5A-B2A3CC5F73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60533" y="4825104"/>
            <a:ext cx="5769504" cy="13098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83C5322E-95D6-964F-97DE-8C5FEF5CDD9D}"/>
              </a:ext>
            </a:extLst>
          </p:cNvPr>
          <p:cNvCxnSpPr>
            <a:cxnSpLocks/>
          </p:cNvCxnSpPr>
          <p:nvPr/>
        </p:nvCxnSpPr>
        <p:spPr>
          <a:xfrm>
            <a:off x="6231469" y="4110589"/>
            <a:ext cx="1989664" cy="101174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3C913D3-A82F-08EE-E69C-060949D8B6A8}"/>
              </a:ext>
            </a:extLst>
          </p:cNvPr>
          <p:cNvCxnSpPr>
            <a:cxnSpLocks/>
          </p:cNvCxnSpPr>
          <p:nvPr/>
        </p:nvCxnSpPr>
        <p:spPr>
          <a:xfrm flipH="1">
            <a:off x="10596563" y="4110589"/>
            <a:ext cx="610937" cy="92949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fik 20">
            <a:extLst>
              <a:ext uri="{FF2B5EF4-FFF2-40B4-BE49-F238E27FC236}">
                <a16:creationId xmlns:a16="http://schemas.microsoft.com/office/drawing/2014/main" id="{3A1ECC99-35ED-47E3-4AC1-F068A28161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51198" y="1201912"/>
            <a:ext cx="5056302" cy="29086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17047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Implement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9</a:t>
            </a:fld>
            <a:endParaRPr lang="de-AT" dirty="0"/>
          </a:p>
        </p:txBody>
      </p:sp>
      <p:pic>
        <p:nvPicPr>
          <p:cNvPr id="12" name="Inhaltsplatzhalter 11">
            <a:extLst>
              <a:ext uri="{FF2B5EF4-FFF2-40B4-BE49-F238E27FC236}">
                <a16:creationId xmlns:a16="http://schemas.microsoft.com/office/drawing/2014/main" id="{9999D3E2-09C7-8D21-50A2-C05FC0B3CD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61963" y="1982913"/>
            <a:ext cx="5686442" cy="3207153"/>
          </a:xfr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B210E7E-D87C-FC39-2EC0-E44C785678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7763" y="1982913"/>
            <a:ext cx="5354637" cy="3221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299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W_Musterpraesentation</Template>
  <TotalTime>0</TotalTime>
  <Words>1819</Words>
  <Application>Microsoft Office PowerPoint</Application>
  <PresentationFormat>Breitbild</PresentationFormat>
  <Paragraphs>420</Paragraphs>
  <Slides>39</Slides>
  <Notes>39</Notes>
  <HiddenSlides>27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9</vt:i4>
      </vt:variant>
    </vt:vector>
  </HeadingPairs>
  <TitlesOfParts>
    <vt:vector size="43" baseType="lpstr">
      <vt:lpstr>Arial</vt:lpstr>
      <vt:lpstr>Wingdings</vt:lpstr>
      <vt:lpstr>Cambria Math</vt:lpstr>
      <vt:lpstr>TU Wien</vt:lpstr>
      <vt:lpstr>SAT Solving  maxSAT implementaion</vt:lpstr>
      <vt:lpstr>Introduction to MaxSAT</vt:lpstr>
      <vt:lpstr>MaxSAT Search Algorithms</vt:lpstr>
      <vt:lpstr>MaxSAT Implementation</vt:lpstr>
      <vt:lpstr>MaxSAT Implementation – Binary Search</vt:lpstr>
      <vt:lpstr>MaxSAT Implementation – Cardinality Constraints</vt:lpstr>
      <vt:lpstr>MaxSAT Implementation – Indicators</vt:lpstr>
      <vt:lpstr>MaxSAT Implementation</vt:lpstr>
      <vt:lpstr>MaxSAT Implementation</vt:lpstr>
      <vt:lpstr>MaxSAT Evaluation</vt:lpstr>
      <vt:lpstr>MaxSAT Evaluation – without SAT to UNSAT</vt:lpstr>
      <vt:lpstr>MaxSAT Evaluation – without SAT to UNSAT</vt:lpstr>
      <vt:lpstr>Thank You</vt:lpstr>
      <vt:lpstr>Folienlayout „Titel“</vt:lpstr>
      <vt:lpstr>Folienlayout „Agenda“</vt:lpstr>
      <vt:lpstr>Folienlayout „Titel und Inhalt“ (= Standard)</vt:lpstr>
      <vt:lpstr>Folienlayout „2 Inhalte“ </vt:lpstr>
      <vt:lpstr>Folienlayout „3 Inhalte“</vt:lpstr>
      <vt:lpstr>Folienlayout „2 Inhalte … </vt:lpstr>
      <vt:lpstr>Folienlayout „Titel und Inhalt“</vt:lpstr>
      <vt:lpstr>Folienlayout Fließtext 2-spaltig</vt:lpstr>
      <vt:lpstr>Folienlayout  „Bild groß“</vt:lpstr>
      <vt:lpstr>Folienlayout „Bild Querformat“</vt:lpstr>
      <vt:lpstr>Folienlayout „Tabelle“</vt:lpstr>
      <vt:lpstr>Folienlayout „Diagramm“</vt:lpstr>
      <vt:lpstr>Folienlayout „Abschnittsüberschrift“</vt:lpstr>
      <vt:lpstr>Folienlayout für Mediaclip</vt:lpstr>
      <vt:lpstr>Musterzitat Lorem ipsum dolor sit amet, consectetuer adipiscing elit. Maecenas porttitor congue massa. </vt:lpstr>
      <vt:lpstr>Folienlayout für großes Bild</vt:lpstr>
      <vt:lpstr>Folienlayout „Titelfolie  mit Sublogo“ (Beispiel)</vt:lpstr>
      <vt:lpstr>Folienlayout „Titelfolie mit Bild und Sublogo“ (Beispiel)</vt:lpstr>
      <vt:lpstr>Folienlayout „Abschnittsüberschrift mit Sublogo“</vt:lpstr>
      <vt:lpstr>Folienlayout „Logo klein – Titel und Inhalt“</vt:lpstr>
      <vt:lpstr>Folienlayout „Logo klein – 2 Inhalte“</vt:lpstr>
      <vt:lpstr>Folienlayout „Logo klein – 2 Inhalte … </vt:lpstr>
      <vt:lpstr>Folienlayout  „Logo klein – Bild groß“</vt:lpstr>
      <vt:lpstr>Folienlayout „Logo klein – Bild Querformat“</vt:lpstr>
      <vt:lpstr>Folienlayout „Logo klein – Tabelle“</vt:lpstr>
      <vt:lpstr>Folienlayout „Logo klein – Diagramm“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sterpräsentation  (Folienlayout „Titelfolie mit Bild“)</dc:title>
  <dc:creator>Thomas Rapberger</dc:creator>
  <cp:lastModifiedBy>Rapberger, Thomas</cp:lastModifiedBy>
  <cp:revision>6</cp:revision>
  <dcterms:created xsi:type="dcterms:W3CDTF">2022-11-09T12:56:03Z</dcterms:created>
  <dcterms:modified xsi:type="dcterms:W3CDTF">2024-09-25T10:0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